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86" r:id="rId3"/>
    <p:sldMasterId id="2147483698" r:id="rId4"/>
    <p:sldMasterId id="2147483711" r:id="rId5"/>
  </p:sldMasterIdLst>
  <p:notesMasterIdLst>
    <p:notesMasterId r:id="rId13"/>
  </p:notesMasterIdLst>
  <p:sldIdLst>
    <p:sldId id="2952" r:id="rId6"/>
    <p:sldId id="358" r:id="rId7"/>
    <p:sldId id="2832" r:id="rId8"/>
    <p:sldId id="463" r:id="rId9"/>
    <p:sldId id="464" r:id="rId10"/>
    <p:sldId id="3504" r:id="rId11"/>
    <p:sldId id="280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108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5B6DA6-CC7A-4C63-90EE-8063316EA8A4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EDB1A2-37E6-4B12-A3B9-8D300673EFD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7256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</p:sp>
      <p:sp>
        <p:nvSpPr>
          <p:cNvPr id="649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680" cy="359964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216000" indent="-215640">
              <a:lnSpc>
                <a:spcPct val="100000"/>
              </a:lnSpc>
            </a:pPr>
            <a:r>
              <a:rPr lang="ru-RU" sz="2000" b="0" strike="noStrike" spc="-1">
                <a:latin typeface="Arial"/>
              </a:rPr>
              <a:t>Модератор отслеживает сбор участников. Когда все собрались он объявляет о старте мероприятия и говорит, что сегодня оно посвящено </a:t>
            </a:r>
            <a:r>
              <a:rPr lang="ru-RU" sz="1200" b="0" strike="noStrike" spc="-1">
                <a:latin typeface="Arial"/>
              </a:rPr>
              <a:t>Дню информирования о </a:t>
            </a:r>
            <a:r>
              <a:t/>
            </a:r>
            <a:br/>
            <a:r>
              <a:rPr lang="ru-RU" sz="1200" b="0" strike="noStrike" spc="-1">
                <a:latin typeface="Arial"/>
              </a:rPr>
              <a:t>первых итогах Программы повышения производительности труда. И объявляет первого выступающего – ГД.</a:t>
            </a:r>
          </a:p>
        </p:txBody>
      </p:sp>
      <p:sp>
        <p:nvSpPr>
          <p:cNvPr id="650" name="CustomShape 3"/>
          <p:cNvSpPr/>
          <p:nvPr/>
        </p:nvSpPr>
        <p:spPr>
          <a:xfrm>
            <a:off x="3884760" y="8685360"/>
            <a:ext cx="2971080" cy="4579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F10B2-A22F-4CE8-9EC2-51E79C0439DB}" type="slidenum">
              <a:rPr kumimoji="0" lang="ru-RU" sz="12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ассказываем:</a:t>
            </a:r>
          </a:p>
          <a:p>
            <a:pPr marL="228600" indent="-228600">
              <a:buFont typeface="+mj-lt"/>
              <a:buAutoNum type="arabicPeriod"/>
            </a:pPr>
            <a:r>
              <a:rPr lang="ru-RU" dirty="0"/>
              <a:t>Масштаб проекта через призму указов Президента РФ;</a:t>
            </a:r>
          </a:p>
          <a:p>
            <a:pPr marL="228600" indent="-228600">
              <a:buFont typeface="+mj-lt"/>
              <a:buAutoNum type="arabicPeriod"/>
            </a:pPr>
            <a:r>
              <a:rPr lang="ru-RU" dirty="0"/>
              <a:t>Составляющие проекта;</a:t>
            </a:r>
          </a:p>
          <a:p>
            <a:pPr marL="228600" indent="-228600">
              <a:buFont typeface="+mj-lt"/>
              <a:buAutoNum type="arabicPeriod"/>
            </a:pPr>
            <a:r>
              <a:rPr lang="ru-RU" dirty="0"/>
              <a:t>Цели проекта;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dirty="0"/>
              <a:t>ИТ-платформа.</a:t>
            </a:r>
          </a:p>
          <a:p>
            <a:pPr marL="228600" indent="-228600">
              <a:buFont typeface="+mj-lt"/>
              <a:buAutoNum type="arabicPeriod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8D327D-31B4-4861-84C5-8F12C49C959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07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C44EF1-BA2A-4711-9682-10147DCA456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44290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71921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20086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4142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Relationship Id="rId4" Type="http://schemas.openxmlformats.org/officeDocument/2006/relationships/image" Target="../media/image13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4.svg"/><Relationship Id="rId4" Type="http://schemas.openxmlformats.org/officeDocument/2006/relationships/image" Target="../media/image21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DB42E4-BAB6-4937-A8EB-037CBD2BF6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2E15613-2E08-4024-A853-5909ABED36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00B1C7-3B4E-4065-9E44-C97F176832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E0A4313-6C82-4951-8278-3770F88569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065B0CF-BBCF-48C8-A067-A6C3E6899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395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1584320-A7C3-43C1-9D21-B360411EB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2D1A15A-81A3-4FBB-997B-03AF70466F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EAD86B5-644E-41B9-A621-8C033F965D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0A85672-5064-47F9-BDA5-B19F9B027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FA3F470-8DD9-4B45-B43F-F60A74F72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327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5F9AD10-7FD2-45BB-838A-9CBEBA6211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C91A74AD-A9EA-4DE5-9174-27DE7D0815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7F26F6B-1378-482F-8384-E431B5D610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B6B753-B216-4896-80F5-48100B800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4D1E4B9-AF96-447F-82CB-10B320073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2034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0670" y="5929931"/>
            <a:ext cx="10985503" cy="318491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1100639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49" y="1287496"/>
            <a:ext cx="10985503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00672" y="3611596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1pPr>
            <a:lvl2pPr marL="0" indent="228594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2pPr>
            <a:lvl3pPr marL="0" indent="457189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3pPr>
            <a:lvl4pPr marL="0" indent="685783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4pPr>
            <a:lvl5pPr marL="0" indent="914377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5pPr>
          </a:lstStyle>
          <a:p>
            <a:r>
              <a:rPr dirty="0" err="1"/>
              <a:t>Уровень</a:t>
            </a:r>
            <a:r>
              <a:rPr dirty="0"/>
              <a:t> </a:t>
            </a:r>
            <a:r>
              <a:rPr dirty="0" err="1"/>
              <a:t>текста</a:t>
            </a:r>
            <a:r>
              <a:rPr dirty="0"/>
              <a:t> 1</a:t>
            </a:r>
          </a:p>
          <a:p>
            <a:pPr lvl="1"/>
            <a:r>
              <a:rPr dirty="0" err="1"/>
              <a:t>Уровень</a:t>
            </a:r>
            <a:r>
              <a:rPr dirty="0"/>
              <a:t> </a:t>
            </a:r>
            <a:r>
              <a:rPr dirty="0" err="1"/>
              <a:t>текста</a:t>
            </a:r>
            <a:r>
              <a:rPr dirty="0"/>
              <a:t> 2</a:t>
            </a:r>
          </a:p>
          <a:p>
            <a:pPr lvl="2"/>
            <a:r>
              <a:rPr dirty="0" err="1"/>
              <a:t>Уровень</a:t>
            </a:r>
            <a:r>
              <a:rPr dirty="0"/>
              <a:t> </a:t>
            </a:r>
            <a:r>
              <a:rPr dirty="0" err="1"/>
              <a:t>текста</a:t>
            </a:r>
            <a:r>
              <a:rPr dirty="0"/>
              <a:t> 3</a:t>
            </a:r>
          </a:p>
          <a:p>
            <a:pPr lvl="3"/>
            <a:r>
              <a:rPr dirty="0" err="1"/>
              <a:t>Уровень</a:t>
            </a:r>
            <a:r>
              <a:rPr dirty="0"/>
              <a:t> </a:t>
            </a:r>
            <a:r>
              <a:rPr dirty="0" err="1"/>
              <a:t>текста</a:t>
            </a:r>
            <a:r>
              <a:rPr dirty="0"/>
              <a:t> 4</a:t>
            </a:r>
          </a:p>
          <a:p>
            <a:pPr lvl="4"/>
            <a:r>
              <a:rPr dirty="0" err="1"/>
              <a:t>Уровень</a:t>
            </a:r>
            <a:r>
              <a:rPr dirty="0"/>
              <a:t> </a:t>
            </a:r>
            <a:r>
              <a:rPr dirty="0" err="1"/>
              <a:t>текста</a:t>
            </a:r>
            <a:r>
              <a:rPr dirty="0"/>
              <a:t> 5</a:t>
            </a:r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076239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666699290_02_crop_3159x1892.jpg"/>
          <p:cNvSpPr>
            <a:spLocks noGrp="1"/>
          </p:cNvSpPr>
          <p:nvPr>
            <p:ph type="pic" idx="13"/>
          </p:nvPr>
        </p:nvSpPr>
        <p:spPr>
          <a:xfrm>
            <a:off x="-577849" y="-647700"/>
            <a:ext cx="13373100" cy="800946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51" y="3562351"/>
            <a:ext cx="10985500" cy="2324100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23" name="Прямоугольник"/>
          <p:cNvSpPr txBox="1">
            <a:spLocks noGrp="1"/>
          </p:cNvSpPr>
          <p:nvPr>
            <p:ph type="body" sz="quarter" idx="14"/>
          </p:nvPr>
        </p:nvSpPr>
        <p:spPr>
          <a:xfrm>
            <a:off x="603846" y="553069"/>
            <a:ext cx="10984311" cy="318491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1100639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2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03251" y="5804955"/>
            <a:ext cx="10985500" cy="558476"/>
          </a:xfrm>
          <a:prstGeom prst="rect">
            <a:avLst/>
          </a:prstGeom>
        </p:spPr>
        <p:txBody>
          <a:bodyPr/>
          <a:lstStyle>
            <a:lvl1pPr marL="0" indent="0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1pPr>
            <a:lvl2pPr marL="0" indent="228594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2pPr>
            <a:lvl3pPr marL="0" indent="457189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3pPr>
            <a:lvl4pPr marL="0" indent="685783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4pPr>
            <a:lvl5pPr marL="0" indent="914377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98514893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/>
        </p:blipFill>
        <p:spPr bwMode="auto">
          <a:xfrm>
            <a:off x="7522645" y="6888"/>
            <a:ext cx="4669367" cy="685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919" y="637955"/>
            <a:ext cx="5145620" cy="82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5125" y="850105"/>
            <a:ext cx="3744384" cy="396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36917" y="3428943"/>
            <a:ext cx="6565563" cy="42486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2401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6921" y="4581542"/>
            <a:ext cx="6578761" cy="3129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536911" y="6200776"/>
            <a:ext cx="25920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1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srgbClr val="171616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7406219" y="6888"/>
            <a:ext cx="116416" cy="68580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rgbClr val="00A0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6678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23171" y="-13472"/>
            <a:ext cx="4768852" cy="6871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27D5DF4E-AF1B-EB46-8B65-932C60C6A9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919" y="637955"/>
            <a:ext cx="5145620" cy="82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7423171" y="0"/>
            <a:ext cx="122767" cy="6858000"/>
          </a:xfrm>
          <a:prstGeom prst="rect">
            <a:avLst/>
          </a:prstGeom>
          <a:solidFill>
            <a:srgbClr val="00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rgbClr val="00A0DC"/>
              </a:solidFill>
            </a:endParaRPr>
          </a:p>
        </p:txBody>
      </p:sp>
      <p:sp>
        <p:nvSpPr>
          <p:cNvPr id="22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36364" y="3433122"/>
            <a:ext cx="6486281" cy="42486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2401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23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6364" y="4581542"/>
            <a:ext cx="6486281" cy="3129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536360" y="6200776"/>
            <a:ext cx="2743201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1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srgbClr val="171616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5125" y="850105"/>
            <a:ext cx="3744384" cy="396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12726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/>
        </p:blipFill>
        <p:spPr bwMode="auto">
          <a:xfrm>
            <a:off x="7522645" y="6888"/>
            <a:ext cx="4669367" cy="685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919" y="637955"/>
            <a:ext cx="5145620" cy="82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5125" y="850105"/>
            <a:ext cx="3744384" cy="396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36917" y="3428943"/>
            <a:ext cx="6565563" cy="42486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2401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6921" y="4581542"/>
            <a:ext cx="6578761" cy="3129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536911" y="6200776"/>
            <a:ext cx="25920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1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7406219" y="6888"/>
            <a:ext cx="116416" cy="68580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rgbClr val="00A0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0593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23171" y="-13472"/>
            <a:ext cx="4768852" cy="6871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27D5DF4E-AF1B-EB46-8B65-932C60C6A9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919" y="637955"/>
            <a:ext cx="5145620" cy="82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7423171" y="0"/>
            <a:ext cx="122767" cy="6858000"/>
          </a:xfrm>
          <a:prstGeom prst="rect">
            <a:avLst/>
          </a:prstGeom>
          <a:solidFill>
            <a:srgbClr val="00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rgbClr val="00A0DC"/>
              </a:solidFill>
            </a:endParaRPr>
          </a:p>
        </p:txBody>
      </p:sp>
      <p:sp>
        <p:nvSpPr>
          <p:cNvPr id="22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36364" y="3433122"/>
            <a:ext cx="6486281" cy="42486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2401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23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6364" y="4581542"/>
            <a:ext cx="6486281" cy="3129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536360" y="6200776"/>
            <a:ext cx="2743201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1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5125" y="850105"/>
            <a:ext cx="3744384" cy="396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98883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5" y="152400"/>
            <a:ext cx="8121648" cy="585053"/>
          </a:xfrm>
        </p:spPr>
        <p:txBody>
          <a:bodyPr/>
          <a:lstStyle>
            <a:lvl1pPr>
              <a:defRPr sz="3200"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4" y="836615"/>
            <a:ext cx="11114617" cy="5545137"/>
          </a:xfrm>
        </p:spPr>
        <p:txBody>
          <a:bodyPr anchor="ctr">
            <a:normAutofit/>
          </a:bodyPr>
          <a:lstStyle>
            <a:lvl1pPr marL="0" marR="0" indent="0" algn="l" defTabSz="9142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600" kern="120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43" indent="0" algn="ctr">
              <a:buNone/>
              <a:defRPr sz="2000"/>
            </a:lvl2pPr>
            <a:lvl3pPr marL="914288" indent="0" algn="ctr">
              <a:buNone/>
              <a:defRPr sz="1801"/>
            </a:lvl3pPr>
            <a:lvl4pPr marL="1371430" indent="0" algn="ctr">
              <a:buNone/>
              <a:defRPr sz="1600"/>
            </a:lvl4pPr>
            <a:lvl5pPr marL="1828570" indent="0" algn="ctr">
              <a:buNone/>
              <a:defRPr sz="1600"/>
            </a:lvl5pPr>
            <a:lvl6pPr marL="2285715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pPr marL="0" marR="0" lvl="0" indent="0" algn="l" defTabSz="9142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1…………………………………………………………………………………………………………….. 1</a:t>
            </a:r>
          </a:p>
          <a:p>
            <a:pPr marL="0" marR="0" lvl="0" indent="0" algn="l" defTabSz="9142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2 …………………………………………………………………………………………………………... 2</a:t>
            </a:r>
          </a:p>
          <a:p>
            <a:pPr marL="0" marR="0" lvl="0" indent="0" algn="l" defTabSz="9142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3…………………………………………………………………………………………………………….. 3</a:t>
            </a:r>
          </a:p>
          <a:p>
            <a:pPr marL="0" marR="0" lvl="0" indent="0" algn="l" defTabSz="9142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4 ……………………………………………………………………………………………………………. 4</a:t>
            </a:r>
          </a:p>
          <a:p>
            <a:pPr marL="0" marR="0" lvl="0" indent="0" algn="l" defTabSz="9142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5 ……………………………………………………………………………………………………………. 5</a:t>
            </a:r>
          </a:p>
          <a:p>
            <a:pPr marL="0" marR="0" lvl="0" indent="0" algn="l" defTabSz="9142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6……………………………………………………………………………………………………………… 6</a:t>
            </a:r>
          </a:p>
          <a:p>
            <a:pPr marL="0" marR="0" lvl="0" indent="0" algn="l" defTabSz="9142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7 ……………………………………………………………………………………………………………. 7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17141" y="274480"/>
            <a:ext cx="3341467" cy="353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8739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4" y="152415"/>
            <a:ext cx="11106148" cy="581385"/>
          </a:xfrm>
        </p:spPr>
        <p:txBody>
          <a:bodyPr/>
          <a:lstStyle>
            <a:lvl1pPr>
              <a:defRPr sz="3200" b="0"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4" y="856204"/>
            <a:ext cx="11114617" cy="5533485"/>
          </a:xfrm>
        </p:spPr>
        <p:txBody>
          <a:bodyPr>
            <a:noAutofit/>
          </a:bodyPr>
          <a:lstStyle>
            <a:lvl1pPr marL="0" marR="0" indent="0" algn="l" defTabSz="914288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000000"/>
                </a:solidFill>
              </a:defRPr>
            </a:lvl1pPr>
            <a:lvl2pPr marL="457143" indent="0">
              <a:buFontTx/>
              <a:buNone/>
              <a:defRPr/>
            </a:lvl2pPr>
            <a:lvl3pPr marL="914288" indent="0">
              <a:buFontTx/>
              <a:buNone/>
              <a:defRPr/>
            </a:lvl3pPr>
            <a:lvl4pPr marL="1371430" indent="0">
              <a:buFontTx/>
              <a:buNone/>
              <a:defRPr/>
            </a:lvl4pPr>
            <a:lvl5pPr marL="182857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65779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D98EC5-4227-4471-B401-14E4441DB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7349C95-0F4D-4E48-9F11-AE32528BF5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3F13C1-9C96-4737-B448-C47C7E4E9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5DF9D5-6296-42FB-AC17-B62BC858A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30B61BD-F4EB-4D93-B25E-294A72DEB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73049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/>
        </p:blipFill>
        <p:spPr bwMode="auto">
          <a:xfrm>
            <a:off x="14" y="6888"/>
            <a:ext cx="4669367" cy="685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552951" y="0"/>
            <a:ext cx="116416" cy="68580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rgbClr val="00A0DC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552951" y="0"/>
            <a:ext cx="116416" cy="68580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rgbClr val="00A0D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2564" y="3429000"/>
            <a:ext cx="6399109" cy="428909"/>
          </a:xfrm>
        </p:spPr>
        <p:txBody>
          <a:bodyPr anchor="b"/>
          <a:lstStyle>
            <a:lvl1pPr>
              <a:defRPr sz="3200"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58277" y="4075613"/>
            <a:ext cx="6406683" cy="2306139"/>
          </a:xfrm>
        </p:spPr>
        <p:txBody>
          <a:bodyPr>
            <a:normAutofit/>
          </a:bodyPr>
          <a:lstStyle>
            <a:lvl1pPr marL="0" indent="0">
              <a:buNone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88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969622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7065" y="152418"/>
            <a:ext cx="11114615" cy="576263"/>
          </a:xfrm>
        </p:spPr>
        <p:txBody>
          <a:bodyPr/>
          <a:lstStyle>
            <a:lvl1pPr>
              <a:defRPr sz="3200">
                <a:solidFill>
                  <a:srgbClr val="1E86C8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697" y="828949"/>
            <a:ext cx="11114617" cy="2776400"/>
          </a:xfrm>
        </p:spPr>
        <p:txBody>
          <a:bodyPr>
            <a:normAutofit/>
          </a:bodyPr>
          <a:lstStyle>
            <a:lvl1pPr marL="342858" indent="-342858" algn="l">
              <a:buFontTx/>
              <a:buBlip>
                <a:blip r:embed="rId2"/>
              </a:buBlip>
              <a:defRPr sz="2133"/>
            </a:lvl1pPr>
            <a:lvl2pPr marL="742860" marR="0" indent="-285716" algn="l" defTabSz="91428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1200001" indent="-285716" algn="l">
              <a:buFontTx/>
              <a:buBlip>
                <a:blip r:embed="rId2"/>
              </a:buBlip>
              <a:defRPr sz="1401"/>
            </a:lvl3pPr>
            <a:lvl4pPr marL="1657145" indent="-285716" algn="l">
              <a:buFontTx/>
              <a:buBlip>
                <a:blip r:embed="rId2"/>
              </a:buBlip>
              <a:defRPr sz="1335"/>
            </a:lvl4pPr>
            <a:lvl5pPr marL="2000001" indent="-171430" algn="l">
              <a:buFontTx/>
              <a:buBlip>
                <a:blip r:embed="rId2"/>
              </a:buBlip>
              <a:defRPr sz="1200"/>
            </a:lvl5pPr>
            <a:lvl6pPr marL="2285715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ru-RU" altLang="ru-RU"/>
              <a:t>Текст уровень 1</a:t>
            </a:r>
            <a:endParaRPr lang="en-US" altLang="ru-RU"/>
          </a:p>
          <a:p>
            <a:pPr lvl="1" fontAlgn="base">
              <a:spcAft>
                <a:spcPct val="0"/>
              </a:spcAft>
            </a:pPr>
            <a:r>
              <a:rPr lang="ru-RU" altLang="ru-RU"/>
              <a:t>Текст уровень 2</a:t>
            </a:r>
            <a:endParaRPr lang="en-US" altLang="ru-RU"/>
          </a:p>
          <a:p>
            <a:pPr lvl="2"/>
            <a:r>
              <a:rPr lang="ru-RU" altLang="ru-RU"/>
              <a:t>Текст уровень 3</a:t>
            </a:r>
            <a:endParaRPr lang="en-US" altLang="ru-RU"/>
          </a:p>
          <a:p>
            <a:pPr lvl="3"/>
            <a:r>
              <a:rPr lang="ru-RU" altLang="ru-RU"/>
              <a:t>Текст уровень 4</a:t>
            </a:r>
            <a:endParaRPr lang="en-US" altLang="ru-RU"/>
          </a:p>
          <a:p>
            <a:pPr lvl="4"/>
            <a:r>
              <a:rPr lang="ru-RU" altLang="ru-RU"/>
              <a:t>Текст уровень 5</a:t>
            </a:r>
            <a:endParaRPr lang="en-US" altLang="ru-RU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527063" y="3605349"/>
            <a:ext cx="11137900" cy="27764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342858" indent="-342858">
              <a:buClr>
                <a:srgbClr val="1E86C8"/>
              </a:buClr>
              <a:buFont typeface="+mj-lt"/>
              <a:buAutoNum type="arabicPeriod"/>
              <a:defRPr sz="2133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800000" indent="-342858">
              <a:buClr>
                <a:srgbClr val="1E86C8"/>
              </a:buClr>
              <a:buFont typeface="+mj-lt"/>
              <a:buAutoNum type="arabicPeriod"/>
              <a:defRPr sz="16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1142861" indent="-228573">
              <a:buClr>
                <a:srgbClr val="1E86C8"/>
              </a:buClr>
              <a:buFont typeface="+mj-lt"/>
              <a:buAutoNum type="arabicPeriod"/>
              <a:defRPr sz="1401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600001" indent="-228573">
              <a:buClr>
                <a:srgbClr val="1E86C8"/>
              </a:buClr>
              <a:buFont typeface="+mj-lt"/>
              <a:buAutoNum type="arabicPeriod"/>
              <a:defRPr sz="1335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2057143" indent="-228573">
              <a:buClr>
                <a:srgbClr val="1E86C8"/>
              </a:buClr>
              <a:buFont typeface="+mj-lt"/>
              <a:buAutoNum type="arabicPeriod"/>
              <a:defRPr sz="1335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6321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3200">
                <a:solidFill>
                  <a:srgbClr val="1E86C8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27062" y="822960"/>
            <a:ext cx="5403487" cy="555878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ru-RU"/>
              <a:t>Текст/таблица/диаграмма/</a:t>
            </a:r>
          </a:p>
          <a:p>
            <a:pPr lvl="0"/>
            <a:r>
              <a:rPr lang="ru-RU"/>
              <a:t>картинка/</a:t>
            </a:r>
            <a:r>
              <a:rPr lang="en-US"/>
              <a:t>SmartAr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287595" y="822960"/>
            <a:ext cx="5354079" cy="555878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ru-RU"/>
              <a:t>Текст/таблица/диаграмма/</a:t>
            </a:r>
          </a:p>
          <a:p>
            <a:pPr lvl="0"/>
            <a:r>
              <a:rPr lang="ru-RU"/>
              <a:t>картинка/</a:t>
            </a:r>
            <a:r>
              <a:rPr lang="en-US"/>
              <a:t>SmartArt</a:t>
            </a:r>
          </a:p>
        </p:txBody>
      </p:sp>
    </p:spTree>
    <p:extLst>
      <p:ext uri="{BB962C8B-B14F-4D97-AF65-F5344CB8AC3E}">
        <p14:creationId xmlns:p14="http://schemas.microsoft.com/office/powerpoint/2010/main" val="1474682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3200">
                <a:solidFill>
                  <a:srgbClr val="1E86C8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601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A30965D7-C022-4396-B7CB-E803128B97A5}" type="datetime1">
              <a:rPr lang="ru-RU" smtClean="0">
                <a:solidFill>
                  <a:srgbClr val="171616"/>
                </a:solidFill>
              </a:rPr>
              <a:pPr/>
              <a:t>12.12.2025</a:t>
            </a:fld>
            <a:endParaRPr lang="ru-RU" dirty="0">
              <a:solidFill>
                <a:srgbClr val="17161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171616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171616"/>
                </a:solidFill>
              </a:rPr>
              <a:pPr/>
              <a:t>‹#›</a:t>
            </a:fld>
            <a:endParaRPr lang="ru-RU" dirty="0">
              <a:solidFill>
                <a:srgbClr val="171616"/>
              </a:solidFill>
            </a:endParaRPr>
          </a:p>
        </p:txBody>
      </p:sp>
      <p:pic>
        <p:nvPicPr>
          <p:cNvPr id="6" name="Picture 2" descr="C:\Users\user\Desktop\для презы\Ресурс 3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" y="1030267"/>
            <a:ext cx="11300884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10849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68B12B3-C0D9-4FF5-B31E-2A44AE82F2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11494897" y="6382908"/>
            <a:ext cx="457920" cy="1231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800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C0BAD4C-FB5A-43AD-9C58-F024226CFA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1AAD3C9B-B043-44FE-ACFD-E116CFF4175D}"/>
              </a:ext>
            </a:extLst>
          </p:cNvPr>
          <p:cNvSpPr/>
          <p:nvPr userDrawn="1"/>
        </p:nvSpPr>
        <p:spPr>
          <a:xfrm>
            <a:off x="11494897" y="6362359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1067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031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11494897" y="6362359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1067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1AAD3C9B-B043-44FE-ACFD-E116CFF4175D}"/>
              </a:ext>
            </a:extLst>
          </p:cNvPr>
          <p:cNvSpPr/>
          <p:nvPr userDrawn="1"/>
        </p:nvSpPr>
        <p:spPr>
          <a:xfrm>
            <a:off x="11494897" y="6341906"/>
            <a:ext cx="457920" cy="20512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333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1333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3387BAF-E94B-4929-B56A-379615C089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CA94031-893C-4F99-88CF-30BF2422C3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082417" y="231126"/>
            <a:ext cx="2870400" cy="448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4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3F7CB59-441C-4508-8119-E1F29DC2F2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11494897" y="6362359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1067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7234535-05C6-4950-BA70-CA64AA7844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081957" y="231126"/>
            <a:ext cx="2870863" cy="44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751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29D7B8A-EAE7-478D-9F2F-DE3F4F22FA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5457" cy="6858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3CCB10A-DD27-434D-9B87-0F8E509E96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11494897" y="6362359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1067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7234535-05C6-4950-BA70-CA64AA7844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081957" y="231126"/>
            <a:ext cx="2870863" cy="44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158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68B12B3-C0D9-4FF5-B31E-2A44AE82F2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11494897" y="6362359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1067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733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BCFBAF-329D-4295-860D-F16782A3FF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9A29527-B5B1-4A31-985F-04ABDC9016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2648D65-B28A-4911-9FFF-A7AFCCE93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EBFC5B1-ABAD-4D97-812A-8B61A06AE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B916303-25D7-4B40-B80C-09B2DA037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18205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0A3B33C-BBFC-420F-AE71-727D2F7852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11494897" y="6362359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bg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1067" b="0" strike="noStrike" spc="-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7234535-05C6-4950-BA70-CA64AA7844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081957" y="231126"/>
            <a:ext cx="2870863" cy="44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394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2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11494897" y="6362356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AA56D78-EED0-4D8B-B1EB-9B678BA77C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83617" y="340543"/>
            <a:ext cx="2219731" cy="346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362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4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11494897" y="6362356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AA56D78-EED0-4D8B-B1EB-9B678BA77C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082417" y="231126"/>
            <a:ext cx="2870400" cy="44825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619CBD6-402E-4162-915E-4E90F04BE9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59212"/>
            <a:ext cx="12192000" cy="6098789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9CCC3BF8-A45D-4A35-9150-DC87CEF3BF37}"/>
              </a:ext>
            </a:extLst>
          </p:cNvPr>
          <p:cNvSpPr/>
          <p:nvPr userDrawn="1"/>
        </p:nvSpPr>
        <p:spPr>
          <a:xfrm>
            <a:off x="11494897" y="6362359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1067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029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4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1B06DB6-6BA2-4AFF-925A-D5022608B3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5" b="12487"/>
          <a:stretch/>
        </p:blipFill>
        <p:spPr>
          <a:xfrm>
            <a:off x="2" y="0"/>
            <a:ext cx="12204700" cy="6858000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2B05AEFE-768A-A173-3641-16A84A86D736}"/>
              </a:ext>
            </a:extLst>
          </p:cNvPr>
          <p:cNvSpPr/>
          <p:nvPr userDrawn="1"/>
        </p:nvSpPr>
        <p:spPr>
          <a:xfrm>
            <a:off x="11494897" y="6362356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800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AA56D78-EED0-4D8B-B1EB-9B678BA77C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082417" y="231126"/>
            <a:ext cx="2870400" cy="448255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9CCC3BF8-A45D-4A35-9150-DC87CEF3BF37}"/>
              </a:ext>
            </a:extLst>
          </p:cNvPr>
          <p:cNvSpPr/>
          <p:nvPr userDrawn="1"/>
        </p:nvSpPr>
        <p:spPr>
          <a:xfrm>
            <a:off x="11494897" y="6362359"/>
            <a:ext cx="457920" cy="16421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r">
              <a:lnSpc>
                <a:spcPct val="100000"/>
              </a:lnSpc>
            </a:pPr>
            <a:fld id="{85D0078E-28C2-46F6-9C8A-8412BC5F797F}" type="slidenum">
              <a:rPr lang="ru-RU" sz="1067" b="0" strike="noStrike" spc="-1">
                <a:solidFill>
                  <a:schemeClr val="tx1"/>
                </a:solidFill>
                <a:latin typeface="Montserrat" pitchFamily="2" charset="0"/>
                <a:ea typeface="DejaVu Sans"/>
              </a:rPr>
              <a:pPr algn="r">
                <a:lnSpc>
                  <a:spcPct val="100000"/>
                </a:lnSpc>
              </a:pPr>
              <a:t>‹#›</a:t>
            </a:fld>
            <a:endParaRPr lang="ru-RU" sz="1067" b="0" strike="noStrike" spc="-1" dirty="0">
              <a:solidFill>
                <a:schemeClr val="tx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978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4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86466B6-04C8-1193-5F70-BBD30F1D8DC0}"/>
              </a:ext>
            </a:extLst>
          </p:cNvPr>
          <p:cNvSpPr/>
          <p:nvPr userDrawn="1"/>
        </p:nvSpPr>
        <p:spPr>
          <a:xfrm>
            <a:off x="-1" y="-408653"/>
            <a:ext cx="12192001" cy="7266653"/>
          </a:xfrm>
          <a:prstGeom prst="rect">
            <a:avLst/>
          </a:prstGeom>
          <a:gradFill>
            <a:gsLst>
              <a:gs pos="62000">
                <a:schemeClr val="accent2"/>
              </a:gs>
              <a:gs pos="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B8458CB7-FD13-686F-3124-E1E91D45C662}"/>
              </a:ext>
            </a:extLst>
          </p:cNvPr>
          <p:cNvGrpSpPr/>
          <p:nvPr userDrawn="1"/>
        </p:nvGrpSpPr>
        <p:grpSpPr>
          <a:xfrm>
            <a:off x="6408919" y="-1782032"/>
            <a:ext cx="3038007" cy="3038007"/>
            <a:chOff x="1616628" y="379181"/>
            <a:chExt cx="1301216" cy="1301216"/>
          </a:xfrm>
        </p:grpSpPr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51E0A11B-1088-9E91-7696-B86DF5A15FFD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F6408ED7-04F3-5B16-4698-3E3025FE0FD2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DB57758E-006E-5A05-8BA4-137EC7096B93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654F61AD-1046-70D7-6AD9-57305304BBCA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  <p:sp>
        <p:nvSpPr>
          <p:cNvPr id="4" name="Овал 3">
            <a:extLst>
              <a:ext uri="{FF2B5EF4-FFF2-40B4-BE49-F238E27FC236}">
                <a16:creationId xmlns:a16="http://schemas.microsoft.com/office/drawing/2014/main" id="{43A11AF1-3984-41FC-EA93-E74A9CB7405F}"/>
              </a:ext>
            </a:extLst>
          </p:cNvPr>
          <p:cNvSpPr/>
          <p:nvPr userDrawn="1"/>
        </p:nvSpPr>
        <p:spPr>
          <a:xfrm rot="17291661">
            <a:off x="8426241" y="-1341543"/>
            <a:ext cx="4289608" cy="4289608"/>
          </a:xfrm>
          <a:prstGeom prst="ellipse">
            <a:avLst/>
          </a:prstGeom>
          <a:gradFill>
            <a:gsLst>
              <a:gs pos="37000">
                <a:schemeClr val="accent2"/>
              </a:gs>
              <a:gs pos="10000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AC3AAD30-04EC-9A64-376A-9EA2544E0203}"/>
              </a:ext>
            </a:extLst>
          </p:cNvPr>
          <p:cNvSpPr/>
          <p:nvPr userDrawn="1"/>
        </p:nvSpPr>
        <p:spPr>
          <a:xfrm rot="15765273">
            <a:off x="-641613" y="726976"/>
            <a:ext cx="1648649" cy="1648649"/>
          </a:xfrm>
          <a:prstGeom prst="ellipse">
            <a:avLst/>
          </a:prstGeom>
          <a:gradFill>
            <a:gsLst>
              <a:gs pos="0">
                <a:schemeClr val="accent2"/>
              </a:gs>
              <a:gs pos="10000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2A829AC7-21D7-3910-65D4-115CF58B4702}"/>
              </a:ext>
            </a:extLst>
          </p:cNvPr>
          <p:cNvGrpSpPr/>
          <p:nvPr userDrawn="1"/>
        </p:nvGrpSpPr>
        <p:grpSpPr>
          <a:xfrm>
            <a:off x="1870204" y="5574332"/>
            <a:ext cx="1859565" cy="1859565"/>
            <a:chOff x="1616628" y="379181"/>
            <a:chExt cx="1301216" cy="1301216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80599BE1-7077-60D4-CE71-8E318EC8A887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262809AC-110A-87EF-C87A-B29C5EA7550B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3AD5BBDA-5DA1-D8DC-1F15-2D0F017A7701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4F2CB42F-7CFD-5438-E8A1-2CD3FA5B8E2C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B3F02A13-F2B9-879C-4952-1A0FCD5507CD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DFE896DD-DE01-6C02-88EB-344DED7B5A77}"/>
              </a:ext>
            </a:extLst>
          </p:cNvPr>
          <p:cNvGrpSpPr/>
          <p:nvPr userDrawn="1"/>
        </p:nvGrpSpPr>
        <p:grpSpPr>
          <a:xfrm>
            <a:off x="10724112" y="4520147"/>
            <a:ext cx="3038007" cy="3038007"/>
            <a:chOff x="1616628" y="379181"/>
            <a:chExt cx="1301216" cy="1301216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BC77CB3B-E2FB-34D1-3166-2FC3DC2E20FD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E517A092-3CAC-25E3-B7BE-C1E0DBF8D5DF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EE790E22-E70F-79E7-C35E-7FF6C1B1A7CE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98C6BDAB-3E20-EB65-E5D1-77F141A5957B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9168595D-5890-E23B-84A6-F40C9821E46D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D833777E-171D-D961-9D77-18A70E37C4BB}"/>
              </a:ext>
            </a:extLst>
          </p:cNvPr>
          <p:cNvGrpSpPr/>
          <p:nvPr userDrawn="1"/>
        </p:nvGrpSpPr>
        <p:grpSpPr>
          <a:xfrm>
            <a:off x="-1345968" y="33491"/>
            <a:ext cx="3038007" cy="3038007"/>
            <a:chOff x="1616628" y="379181"/>
            <a:chExt cx="1301216" cy="1301216"/>
          </a:xfrm>
        </p:grpSpPr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5B0F8085-A9C4-6295-D8F6-76E4EC0A7598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2DB08E01-5BAA-EC5D-43B1-E4021C186580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9601DD71-48DB-5491-5C32-3637B3A7AD8B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E2F7E6A7-E846-995B-BB56-801F1B2C397B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8C251D34-9191-22A7-DC15-8DCF54746AD0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</p:grpSp>
      <p:sp>
        <p:nvSpPr>
          <p:cNvPr id="40" name="Овал 39">
            <a:extLst>
              <a:ext uri="{FF2B5EF4-FFF2-40B4-BE49-F238E27FC236}">
                <a16:creationId xmlns:a16="http://schemas.microsoft.com/office/drawing/2014/main" id="{A1CA6B92-9B3B-7D4E-A00E-34965E339F26}"/>
              </a:ext>
            </a:extLst>
          </p:cNvPr>
          <p:cNvSpPr/>
          <p:nvPr userDrawn="1"/>
        </p:nvSpPr>
        <p:spPr>
          <a:xfrm>
            <a:off x="10079076" y="989684"/>
            <a:ext cx="2520845" cy="2520845"/>
          </a:xfrm>
          <a:prstGeom prst="ellipse">
            <a:avLst/>
          </a:prstGeom>
          <a:noFill/>
          <a:ln w="9525">
            <a:gradFill>
              <a:gsLst>
                <a:gs pos="0">
                  <a:schemeClr val="accent4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CA748073-9E42-D483-C56C-0A8C7BAF6B7F}"/>
              </a:ext>
            </a:extLst>
          </p:cNvPr>
          <p:cNvSpPr/>
          <p:nvPr userDrawn="1"/>
        </p:nvSpPr>
        <p:spPr>
          <a:xfrm>
            <a:off x="5854510" y="5231633"/>
            <a:ext cx="1150121" cy="1150121"/>
          </a:xfrm>
          <a:prstGeom prst="ellipse">
            <a:avLst/>
          </a:prstGeom>
          <a:gradFill>
            <a:gsLst>
              <a:gs pos="18000">
                <a:schemeClr val="accent2"/>
              </a:gs>
              <a:gs pos="10000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5957757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86466B6-04C8-1193-5F70-BBD30F1D8DC0}"/>
              </a:ext>
            </a:extLst>
          </p:cNvPr>
          <p:cNvSpPr/>
          <p:nvPr userDrawn="1"/>
        </p:nvSpPr>
        <p:spPr>
          <a:xfrm>
            <a:off x="-1" y="-408653"/>
            <a:ext cx="12192001" cy="7266653"/>
          </a:xfrm>
          <a:prstGeom prst="rect">
            <a:avLst/>
          </a:prstGeom>
          <a:gradFill>
            <a:gsLst>
              <a:gs pos="62000">
                <a:schemeClr val="accent2"/>
              </a:gs>
              <a:gs pos="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B8458CB7-FD13-686F-3124-E1E91D45C662}"/>
              </a:ext>
            </a:extLst>
          </p:cNvPr>
          <p:cNvGrpSpPr/>
          <p:nvPr userDrawn="1"/>
        </p:nvGrpSpPr>
        <p:grpSpPr>
          <a:xfrm>
            <a:off x="6408919" y="-1782032"/>
            <a:ext cx="3038007" cy="3038007"/>
            <a:chOff x="1616628" y="379181"/>
            <a:chExt cx="1301216" cy="1301216"/>
          </a:xfrm>
        </p:grpSpPr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51E0A11B-1088-9E91-7696-B86DF5A15FFD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F6408ED7-04F3-5B16-4698-3E3025FE0FD2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DB57758E-006E-5A05-8BA4-137EC7096B93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654F61AD-1046-70D7-6AD9-57305304BBCA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  <p:sp>
        <p:nvSpPr>
          <p:cNvPr id="4" name="Овал 3">
            <a:extLst>
              <a:ext uri="{FF2B5EF4-FFF2-40B4-BE49-F238E27FC236}">
                <a16:creationId xmlns:a16="http://schemas.microsoft.com/office/drawing/2014/main" id="{43A11AF1-3984-41FC-EA93-E74A9CB7405F}"/>
              </a:ext>
            </a:extLst>
          </p:cNvPr>
          <p:cNvSpPr/>
          <p:nvPr userDrawn="1"/>
        </p:nvSpPr>
        <p:spPr>
          <a:xfrm rot="17291661">
            <a:off x="7339929" y="433243"/>
            <a:ext cx="4289608" cy="4289608"/>
          </a:xfrm>
          <a:prstGeom prst="ellipse">
            <a:avLst/>
          </a:prstGeom>
          <a:gradFill>
            <a:gsLst>
              <a:gs pos="37000">
                <a:schemeClr val="accent2"/>
              </a:gs>
              <a:gs pos="10000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A99A0649-1307-70FD-12AD-4C8BCBBC5C9B}"/>
              </a:ext>
            </a:extLst>
          </p:cNvPr>
          <p:cNvSpPr/>
          <p:nvPr userDrawn="1"/>
        </p:nvSpPr>
        <p:spPr>
          <a:xfrm>
            <a:off x="5854510" y="5231633"/>
            <a:ext cx="1150121" cy="1150121"/>
          </a:xfrm>
          <a:prstGeom prst="ellipse">
            <a:avLst/>
          </a:prstGeom>
          <a:gradFill>
            <a:gsLst>
              <a:gs pos="18000">
                <a:schemeClr val="accent2"/>
              </a:gs>
              <a:gs pos="100000">
                <a:schemeClr val="accent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2A829AC7-21D7-3910-65D4-115CF58B4702}"/>
              </a:ext>
            </a:extLst>
          </p:cNvPr>
          <p:cNvGrpSpPr/>
          <p:nvPr userDrawn="1"/>
        </p:nvGrpSpPr>
        <p:grpSpPr>
          <a:xfrm>
            <a:off x="1870204" y="5574332"/>
            <a:ext cx="1859565" cy="1859565"/>
            <a:chOff x="1616628" y="379181"/>
            <a:chExt cx="1301216" cy="1301216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80599BE1-7077-60D4-CE71-8E318EC8A887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262809AC-110A-87EF-C87A-B29C5EA7550B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3AD5BBDA-5DA1-D8DC-1F15-2D0F017A7701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4F2CB42F-7CFD-5438-E8A1-2CD3FA5B8E2C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B3F02A13-F2B9-879C-4952-1A0FCD5507CD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DFE896DD-DE01-6C02-88EB-344DED7B5A77}"/>
              </a:ext>
            </a:extLst>
          </p:cNvPr>
          <p:cNvGrpSpPr/>
          <p:nvPr userDrawn="1"/>
        </p:nvGrpSpPr>
        <p:grpSpPr>
          <a:xfrm>
            <a:off x="10724112" y="4520147"/>
            <a:ext cx="3038007" cy="3038007"/>
            <a:chOff x="1616628" y="379181"/>
            <a:chExt cx="1301216" cy="1301216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BC77CB3B-E2FB-34D1-3166-2FC3DC2E20FD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E517A092-3CAC-25E3-B7BE-C1E0DBF8D5DF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EE790E22-E70F-79E7-C35E-7FF6C1B1A7CE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98C6BDAB-3E20-EB65-E5D1-77F141A5957B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9168595D-5890-E23B-84A6-F40C9821E46D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D833777E-171D-D961-9D77-18A70E37C4BB}"/>
              </a:ext>
            </a:extLst>
          </p:cNvPr>
          <p:cNvGrpSpPr/>
          <p:nvPr userDrawn="1"/>
        </p:nvGrpSpPr>
        <p:grpSpPr>
          <a:xfrm>
            <a:off x="-2025016" y="-630124"/>
            <a:ext cx="3038007" cy="3038007"/>
            <a:chOff x="1616628" y="379181"/>
            <a:chExt cx="1301216" cy="1301216"/>
          </a:xfrm>
        </p:grpSpPr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5B0F8085-A9C4-6295-D8F6-76E4EC0A7598}"/>
                </a:ext>
              </a:extLst>
            </p:cNvPr>
            <p:cNvSpPr/>
            <p:nvPr userDrawn="1"/>
          </p:nvSpPr>
          <p:spPr>
            <a:xfrm>
              <a:off x="1616628" y="379181"/>
              <a:ext cx="1301216" cy="130121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2DB08E01-5BAA-EC5D-43B1-E4021C186580}"/>
                </a:ext>
              </a:extLst>
            </p:cNvPr>
            <p:cNvSpPr/>
            <p:nvPr userDrawn="1"/>
          </p:nvSpPr>
          <p:spPr>
            <a:xfrm>
              <a:off x="1727843" y="490396"/>
              <a:ext cx="1078786" cy="1078786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9601DD71-48DB-5491-5C32-3637B3A7AD8B}"/>
                </a:ext>
              </a:extLst>
            </p:cNvPr>
            <p:cNvSpPr/>
            <p:nvPr userDrawn="1"/>
          </p:nvSpPr>
          <p:spPr>
            <a:xfrm>
              <a:off x="1787269" y="549822"/>
              <a:ext cx="959934" cy="959934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E2F7E6A7-E846-995B-BB56-801F1B2C397B}"/>
                </a:ext>
              </a:extLst>
            </p:cNvPr>
            <p:cNvSpPr/>
            <p:nvPr userDrawn="1"/>
          </p:nvSpPr>
          <p:spPr>
            <a:xfrm>
              <a:off x="1669848" y="432401"/>
              <a:ext cx="1194777" cy="119477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8C251D34-9191-22A7-DC15-8DCF54746AD0}"/>
                </a:ext>
              </a:extLst>
            </p:cNvPr>
            <p:cNvSpPr/>
            <p:nvPr userDrawn="1"/>
          </p:nvSpPr>
          <p:spPr>
            <a:xfrm>
              <a:off x="1830908" y="609599"/>
              <a:ext cx="856517" cy="856517"/>
            </a:xfrm>
            <a:prstGeom prst="ellipse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3CBC5AAF-A7F5-110D-3DFF-01CB7284DA7F}"/>
              </a:ext>
            </a:extLst>
          </p:cNvPr>
          <p:cNvSpPr txBox="1"/>
          <p:nvPr userDrawn="1"/>
        </p:nvSpPr>
        <p:spPr>
          <a:xfrm>
            <a:off x="840477" y="1656480"/>
            <a:ext cx="65502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Montserrat" pitchFamily="2" charset="0"/>
                <a:ea typeface="Verdana"/>
                <a:cs typeface="Verdana" panose="020B0604030504040204" pitchFamily="34" charset="0"/>
              </a:rPr>
              <a:t>РЕЗУЛЬТАТЫ РЕАЛИЗОВАННЫХ</a:t>
            </a:r>
          </a:p>
          <a:p>
            <a:r>
              <a:rPr lang="ru-RU" sz="3200" b="1" dirty="0">
                <a:solidFill>
                  <a:schemeClr val="bg1"/>
                </a:solidFill>
                <a:latin typeface="Montserrat" pitchFamily="2" charset="0"/>
                <a:ea typeface="Verdana"/>
                <a:cs typeface="Verdana" panose="020B0604030504040204" pitchFamily="34" charset="0"/>
              </a:rPr>
              <a:t>ПРОЕКТОВ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84BB98-F465-C9C5-C8F2-E1DC21DBDBDE}"/>
              </a:ext>
            </a:extLst>
          </p:cNvPr>
          <p:cNvSpPr txBox="1"/>
          <p:nvPr userDrawn="1"/>
        </p:nvSpPr>
        <p:spPr>
          <a:xfrm>
            <a:off x="1056252" y="3429004"/>
            <a:ext cx="6550211" cy="1021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ru-RU" sz="2133" cap="all" dirty="0">
                <a:solidFill>
                  <a:schemeClr val="bg1"/>
                </a:solidFill>
                <a:latin typeface="Montserrat" pitchFamily="2" charset="0"/>
                <a:ea typeface="Verdana"/>
                <a:cs typeface="Verdana" panose="020B0604030504040204" pitchFamily="34" charset="0"/>
              </a:rPr>
              <a:t>ПРОИЗВОДСТВО КАКАО, Шоколада </a:t>
            </a:r>
            <a:br>
              <a:rPr lang="ru-RU" sz="2133" cap="all" dirty="0">
                <a:solidFill>
                  <a:schemeClr val="bg1"/>
                </a:solidFill>
                <a:latin typeface="Montserrat" pitchFamily="2" charset="0"/>
                <a:ea typeface="Verdana"/>
                <a:cs typeface="Verdana" panose="020B0604030504040204" pitchFamily="34" charset="0"/>
              </a:rPr>
            </a:br>
            <a:r>
              <a:rPr lang="ru-RU" sz="2133" cap="all" dirty="0">
                <a:solidFill>
                  <a:schemeClr val="bg1"/>
                </a:solidFill>
                <a:latin typeface="Montserrat" pitchFamily="2" charset="0"/>
                <a:ea typeface="Verdana"/>
                <a:cs typeface="Verdana" panose="020B0604030504040204" pitchFamily="34" charset="0"/>
              </a:rPr>
              <a:t>и сахаристых изделий (ОКВЭД 10.82)</a:t>
            </a:r>
            <a:endParaRPr lang="en-US" sz="2133" dirty="0">
              <a:solidFill>
                <a:schemeClr val="bg1"/>
              </a:solidFill>
              <a:latin typeface="Montserrat" pitchFamily="2" charset="0"/>
              <a:cs typeface="Calibri Light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3C6EF46-CA73-18F5-82A0-436FC2646AAC}"/>
              </a:ext>
            </a:extLst>
          </p:cNvPr>
          <p:cNvSpPr/>
          <p:nvPr userDrawn="1"/>
        </p:nvSpPr>
        <p:spPr>
          <a:xfrm>
            <a:off x="962595" y="3537217"/>
            <a:ext cx="96000" cy="91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A1CA6B92-9B3B-7D4E-A00E-34965E339F26}"/>
              </a:ext>
            </a:extLst>
          </p:cNvPr>
          <p:cNvSpPr/>
          <p:nvPr userDrawn="1"/>
        </p:nvSpPr>
        <p:spPr>
          <a:xfrm>
            <a:off x="10079076" y="989684"/>
            <a:ext cx="2520845" cy="2520845"/>
          </a:xfrm>
          <a:prstGeom prst="ellipse">
            <a:avLst/>
          </a:prstGeom>
          <a:noFill/>
          <a:ln w="9525">
            <a:gradFill>
              <a:gsLst>
                <a:gs pos="0">
                  <a:schemeClr val="accent4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9" name="Рисунок 8" descr="Изображение выглядит как человек, внутренний, гитара&#10;&#10;Автоматически созданное описание">
            <a:extLst>
              <a:ext uri="{FF2B5EF4-FFF2-40B4-BE49-F238E27FC236}">
                <a16:creationId xmlns:a16="http://schemas.microsoft.com/office/drawing/2014/main" id="{DA50ACC5-D90E-C3F8-D022-5C6A29DF6F6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5384" r="18126"/>
          <a:stretch/>
        </p:blipFill>
        <p:spPr>
          <a:xfrm>
            <a:off x="7283466" y="431646"/>
            <a:ext cx="4381487" cy="438107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469962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0566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609600" y="439703"/>
            <a:ext cx="10972320" cy="81259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5867" b="0" strike="noStrike" spc="-1">
              <a:latin typeface="Arial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 type="subTitle"/>
          </p:nvPr>
        </p:nvSpPr>
        <p:spPr>
          <a:xfrm>
            <a:off x="609600" y="3297783"/>
            <a:ext cx="10972320" cy="59099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2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35507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609600" y="439703"/>
            <a:ext cx="10972320" cy="81259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5867" b="0" strike="noStrike" spc="-1">
              <a:latin typeface="Arial"/>
            </a:endParaRPr>
          </a:p>
        </p:txBody>
      </p:sp>
      <p:sp>
        <p:nvSpPr>
          <p:cNvPr id="12" name="PlaceHolder 2"/>
          <p:cNvSpPr>
            <a:spLocks noGrp="1"/>
          </p:cNvSpPr>
          <p:nvPr>
            <p:ph type="body"/>
          </p:nvPr>
        </p:nvSpPr>
        <p:spPr>
          <a:xfrm>
            <a:off x="609600" y="1604640"/>
            <a:ext cx="1097232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29897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609600" y="439703"/>
            <a:ext cx="10972320" cy="81259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5867" b="0" strike="noStrike" spc="-1">
              <a:latin typeface="Arial"/>
            </a:endParaRPr>
          </a:p>
        </p:txBody>
      </p:sp>
      <p:sp>
        <p:nvSpPr>
          <p:cNvPr id="14" name="PlaceHolder 2"/>
          <p:cNvSpPr>
            <a:spLocks noGrp="1"/>
          </p:cNvSpPr>
          <p:nvPr>
            <p:ph type="body"/>
          </p:nvPr>
        </p:nvSpPr>
        <p:spPr>
          <a:xfrm>
            <a:off x="609600" y="160464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15" name="PlaceHolder 3"/>
          <p:cNvSpPr>
            <a:spLocks noGrp="1"/>
          </p:cNvSpPr>
          <p:nvPr>
            <p:ph type="body"/>
          </p:nvPr>
        </p:nvSpPr>
        <p:spPr>
          <a:xfrm>
            <a:off x="6232320" y="160464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9463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C09619-D41B-49DD-B561-46454B6CE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9A94E5D-D3FA-442A-9979-2EE06EC5FB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9599862-1F5D-4312-BA5C-B61A409A3F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82373F4-106D-49B0-B6CB-B69B7193D5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217381C-C43C-46B6-974B-124AE66BE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C33AEE7-B243-491E-BBD3-C2F4B04E5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64234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title"/>
          </p:nvPr>
        </p:nvSpPr>
        <p:spPr>
          <a:xfrm>
            <a:off x="609600" y="439703"/>
            <a:ext cx="10972320" cy="81259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58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72361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subTitle"/>
          </p:nvPr>
        </p:nvSpPr>
        <p:spPr>
          <a:xfrm>
            <a:off x="609600" y="2632263"/>
            <a:ext cx="10972320" cy="59099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42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75539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ceHolder 1"/>
          <p:cNvSpPr>
            <a:spLocks noGrp="1"/>
          </p:cNvSpPr>
          <p:nvPr>
            <p:ph type="title"/>
          </p:nvPr>
        </p:nvSpPr>
        <p:spPr>
          <a:xfrm>
            <a:off x="609600" y="439703"/>
            <a:ext cx="10972320" cy="81259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5867" b="0" strike="noStrike" spc="-1">
              <a:latin typeface="Arial"/>
            </a:endParaRPr>
          </a:p>
        </p:txBody>
      </p:sp>
      <p:sp>
        <p:nvSpPr>
          <p:cNvPr id="19" name="PlaceHolder 2"/>
          <p:cNvSpPr>
            <a:spLocks noGrp="1"/>
          </p:cNvSpPr>
          <p:nvPr>
            <p:ph type="body"/>
          </p:nvPr>
        </p:nvSpPr>
        <p:spPr>
          <a:xfrm>
            <a:off x="609600" y="1604640"/>
            <a:ext cx="535440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20" name="PlaceHolder 3"/>
          <p:cNvSpPr>
            <a:spLocks noGrp="1"/>
          </p:cNvSpPr>
          <p:nvPr>
            <p:ph type="body"/>
          </p:nvPr>
        </p:nvSpPr>
        <p:spPr>
          <a:xfrm>
            <a:off x="6232320" y="160464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21" name="PlaceHolder 4"/>
          <p:cNvSpPr>
            <a:spLocks noGrp="1"/>
          </p:cNvSpPr>
          <p:nvPr>
            <p:ph type="body"/>
          </p:nvPr>
        </p:nvSpPr>
        <p:spPr>
          <a:xfrm>
            <a:off x="609600" y="3682560"/>
            <a:ext cx="535440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90327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609600" y="439703"/>
            <a:ext cx="10972320" cy="81259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5867" b="0" strike="noStrike" spc="-1"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 type="body"/>
          </p:nvPr>
        </p:nvSpPr>
        <p:spPr>
          <a:xfrm>
            <a:off x="609600" y="160464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24" name="PlaceHolder 3"/>
          <p:cNvSpPr>
            <a:spLocks noGrp="1"/>
          </p:cNvSpPr>
          <p:nvPr>
            <p:ph type="body"/>
          </p:nvPr>
        </p:nvSpPr>
        <p:spPr>
          <a:xfrm>
            <a:off x="6232320" y="1604640"/>
            <a:ext cx="535440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25" name="PlaceHolder 4"/>
          <p:cNvSpPr>
            <a:spLocks noGrp="1"/>
          </p:cNvSpPr>
          <p:nvPr>
            <p:ph type="body"/>
          </p:nvPr>
        </p:nvSpPr>
        <p:spPr>
          <a:xfrm>
            <a:off x="6232320" y="3682560"/>
            <a:ext cx="535440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33829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609600" y="439703"/>
            <a:ext cx="10972320" cy="81259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5867" b="0" strike="noStrike" spc="-1"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609600" y="1604640"/>
            <a:ext cx="535440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 type="body"/>
          </p:nvPr>
        </p:nvSpPr>
        <p:spPr>
          <a:xfrm>
            <a:off x="6232320" y="1604640"/>
            <a:ext cx="535440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29" name="PlaceHolder 4"/>
          <p:cNvSpPr>
            <a:spLocks noGrp="1"/>
          </p:cNvSpPr>
          <p:nvPr>
            <p:ph type="body"/>
          </p:nvPr>
        </p:nvSpPr>
        <p:spPr>
          <a:xfrm>
            <a:off x="609600" y="3682560"/>
            <a:ext cx="1097232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91662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title"/>
          </p:nvPr>
        </p:nvSpPr>
        <p:spPr>
          <a:xfrm>
            <a:off x="609600" y="439703"/>
            <a:ext cx="10972320" cy="81259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5867" b="0" strike="noStrike" spc="-1">
              <a:latin typeface="Arial"/>
            </a:endParaRPr>
          </a:p>
        </p:txBody>
      </p:sp>
      <p:sp>
        <p:nvSpPr>
          <p:cNvPr id="31" name="PlaceHolder 2"/>
          <p:cNvSpPr>
            <a:spLocks noGrp="1"/>
          </p:cNvSpPr>
          <p:nvPr>
            <p:ph type="body"/>
          </p:nvPr>
        </p:nvSpPr>
        <p:spPr>
          <a:xfrm>
            <a:off x="609600" y="1604640"/>
            <a:ext cx="1097232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32" name="PlaceHolder 3"/>
          <p:cNvSpPr>
            <a:spLocks noGrp="1"/>
          </p:cNvSpPr>
          <p:nvPr>
            <p:ph type="body"/>
          </p:nvPr>
        </p:nvSpPr>
        <p:spPr>
          <a:xfrm>
            <a:off x="609600" y="3682560"/>
            <a:ext cx="1097232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139054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laceHolder 1"/>
          <p:cNvSpPr>
            <a:spLocks noGrp="1"/>
          </p:cNvSpPr>
          <p:nvPr>
            <p:ph type="title"/>
          </p:nvPr>
        </p:nvSpPr>
        <p:spPr>
          <a:xfrm>
            <a:off x="609600" y="439703"/>
            <a:ext cx="10972320" cy="81259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5867" b="0" strike="noStrike" spc="-1">
              <a:latin typeface="Arial"/>
            </a:endParaRPr>
          </a:p>
        </p:txBody>
      </p:sp>
      <p:sp>
        <p:nvSpPr>
          <p:cNvPr id="34" name="PlaceHolder 2"/>
          <p:cNvSpPr>
            <a:spLocks noGrp="1"/>
          </p:cNvSpPr>
          <p:nvPr>
            <p:ph type="body"/>
          </p:nvPr>
        </p:nvSpPr>
        <p:spPr>
          <a:xfrm>
            <a:off x="609600" y="1604640"/>
            <a:ext cx="535440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35" name="PlaceHolder 3"/>
          <p:cNvSpPr>
            <a:spLocks noGrp="1"/>
          </p:cNvSpPr>
          <p:nvPr>
            <p:ph type="body"/>
          </p:nvPr>
        </p:nvSpPr>
        <p:spPr>
          <a:xfrm>
            <a:off x="6232320" y="1604640"/>
            <a:ext cx="535440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36" name="PlaceHolder 4"/>
          <p:cNvSpPr>
            <a:spLocks noGrp="1"/>
          </p:cNvSpPr>
          <p:nvPr>
            <p:ph type="body"/>
          </p:nvPr>
        </p:nvSpPr>
        <p:spPr>
          <a:xfrm>
            <a:off x="609600" y="3682560"/>
            <a:ext cx="535440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37" name="PlaceHolder 5"/>
          <p:cNvSpPr>
            <a:spLocks noGrp="1"/>
          </p:cNvSpPr>
          <p:nvPr>
            <p:ph type="body"/>
          </p:nvPr>
        </p:nvSpPr>
        <p:spPr>
          <a:xfrm>
            <a:off x="6232320" y="3682560"/>
            <a:ext cx="5354400" cy="1896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42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94718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laceHolder 1"/>
          <p:cNvSpPr>
            <a:spLocks noGrp="1"/>
          </p:cNvSpPr>
          <p:nvPr>
            <p:ph type="title"/>
          </p:nvPr>
        </p:nvSpPr>
        <p:spPr>
          <a:xfrm>
            <a:off x="609600" y="439703"/>
            <a:ext cx="10972320" cy="81259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5867" b="0" strike="noStrike" spc="-1">
              <a:latin typeface="Arial"/>
            </a:endParaRPr>
          </a:p>
        </p:txBody>
      </p:sp>
      <p:sp>
        <p:nvSpPr>
          <p:cNvPr id="39" name="PlaceHolder 2"/>
          <p:cNvSpPr>
            <a:spLocks noGrp="1"/>
          </p:cNvSpPr>
          <p:nvPr>
            <p:ph type="body"/>
          </p:nvPr>
        </p:nvSpPr>
        <p:spPr>
          <a:xfrm>
            <a:off x="609600" y="1604640"/>
            <a:ext cx="3532800" cy="189696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40" name="PlaceHolder 3"/>
          <p:cNvSpPr>
            <a:spLocks noGrp="1"/>
          </p:cNvSpPr>
          <p:nvPr>
            <p:ph type="body"/>
          </p:nvPr>
        </p:nvSpPr>
        <p:spPr>
          <a:xfrm>
            <a:off x="4319520" y="1604640"/>
            <a:ext cx="3532800" cy="189696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41" name="PlaceHolder 4"/>
          <p:cNvSpPr>
            <a:spLocks noGrp="1"/>
          </p:cNvSpPr>
          <p:nvPr>
            <p:ph type="body"/>
          </p:nvPr>
        </p:nvSpPr>
        <p:spPr>
          <a:xfrm>
            <a:off x="8029440" y="1604640"/>
            <a:ext cx="3532800" cy="189696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42" name="PlaceHolder 5"/>
          <p:cNvSpPr>
            <a:spLocks noGrp="1"/>
          </p:cNvSpPr>
          <p:nvPr>
            <p:ph type="body"/>
          </p:nvPr>
        </p:nvSpPr>
        <p:spPr>
          <a:xfrm>
            <a:off x="609600" y="3682560"/>
            <a:ext cx="3532800" cy="189696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43" name="PlaceHolder 6"/>
          <p:cNvSpPr>
            <a:spLocks noGrp="1"/>
          </p:cNvSpPr>
          <p:nvPr>
            <p:ph type="body"/>
          </p:nvPr>
        </p:nvSpPr>
        <p:spPr>
          <a:xfrm>
            <a:off x="4319520" y="3682560"/>
            <a:ext cx="3532800" cy="189696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4267" b="0" strike="noStrike" spc="-1">
              <a:latin typeface="Arial"/>
            </a:endParaRPr>
          </a:p>
        </p:txBody>
      </p:sp>
      <p:sp>
        <p:nvSpPr>
          <p:cNvPr id="44" name="PlaceHolder 7"/>
          <p:cNvSpPr>
            <a:spLocks noGrp="1"/>
          </p:cNvSpPr>
          <p:nvPr>
            <p:ph type="body"/>
          </p:nvPr>
        </p:nvSpPr>
        <p:spPr>
          <a:xfrm>
            <a:off x="8029440" y="3682560"/>
            <a:ext cx="3532800" cy="1896960"/>
          </a:xfrm>
          <a:prstGeom prst="rect">
            <a:avLst/>
          </a:prstGeom>
        </p:spPr>
        <p:txBody>
          <a:bodyPr lIns="0" tIns="0" rIns="0" bIns="0">
            <a:normAutofit fontScale="49000"/>
          </a:bodyPr>
          <a:lstStyle/>
          <a:p>
            <a:endParaRPr lang="ru-RU" sz="4267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81836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3259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2">
          <p15:clr>
            <a:srgbClr val="FBAE40"/>
          </p15:clr>
        </p15:guide>
        <p15:guide id="2" orient="horz" pos="9866">
          <p15:clr>
            <a:srgbClr val="FBAE40"/>
          </p15:clr>
        </p15:guide>
        <p15:guide id="3" pos="684">
          <p15:clr>
            <a:srgbClr val="FBAE40"/>
          </p15:clr>
        </p15:guide>
        <p15:guide id="4" pos="173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CBE83297-2C1B-4E30-87BB-913B6C1017E4}"/>
              </a:ext>
            </a:extLst>
          </p:cNvPr>
          <p:cNvSpPr/>
          <p:nvPr/>
        </p:nvSpPr>
        <p:spPr>
          <a:xfrm>
            <a:off x="0" y="2749"/>
            <a:ext cx="12192000" cy="6855251"/>
          </a:xfrm>
          <a:prstGeom prst="rect">
            <a:avLst/>
          </a:prstGeom>
          <a:gradFill flip="none" rotWithShape="1">
            <a:gsLst>
              <a:gs pos="0">
                <a:srgbClr val="0077C8"/>
              </a:gs>
              <a:gs pos="100000">
                <a:srgbClr val="009EB2"/>
              </a:gs>
            </a:gsLst>
            <a:lin ang="21594000" scaled="0"/>
            <a:tileRect/>
          </a:gradFill>
          <a:ln w="12700">
            <a:miter lim="400000"/>
          </a:ln>
        </p:spPr>
        <p:txBody>
          <a:bodyPr lIns="18687" tIns="18687" rIns="18687" bIns="18687" anchor="ctr"/>
          <a:lstStyle/>
          <a:p>
            <a:pPr defTabSz="303699"/>
            <a:endParaRPr sz="1177" dirty="0">
              <a:solidFill>
                <a:srgbClr val="FFFFFF"/>
              </a:solidFill>
              <a:latin typeface="Montserrat" panose="00000500000000000000" pitchFamily="2" charset="-52"/>
              <a:ea typeface="Helvetica Neue Medium"/>
              <a:cs typeface="DIN Pro Medium" panose="020B0604020101020102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9B45454-DAAC-4801-831D-56742FD88A1C}"/>
              </a:ext>
            </a:extLst>
          </p:cNvPr>
          <p:cNvSpPr/>
          <p:nvPr/>
        </p:nvSpPr>
        <p:spPr>
          <a:xfrm>
            <a:off x="0" y="5850197"/>
            <a:ext cx="12192000" cy="1007807"/>
          </a:xfrm>
          <a:prstGeom prst="rect">
            <a:avLst/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10800000" scaled="0"/>
          </a:gradFill>
          <a:ln w="356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87" dirty="0">
              <a:solidFill>
                <a:schemeClr val="tx1"/>
              </a:solidFill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B03FEF6-AD8C-4C35-AB23-E74D68D65A37}"/>
              </a:ext>
            </a:extLst>
          </p:cNvPr>
          <p:cNvGrpSpPr/>
          <p:nvPr/>
        </p:nvGrpSpPr>
        <p:grpSpPr>
          <a:xfrm>
            <a:off x="464000" y="6139806"/>
            <a:ext cx="409633" cy="401833"/>
            <a:chOff x="1092387" y="14547957"/>
            <a:chExt cx="964400" cy="964400"/>
          </a:xfrm>
        </p:grpSpPr>
        <p:sp>
          <p:nvSpPr>
            <p:cNvPr id="4" name="Рисунок 54">
              <a:extLst>
                <a:ext uri="{FF2B5EF4-FFF2-40B4-BE49-F238E27FC236}">
                  <a16:creationId xmlns:a16="http://schemas.microsoft.com/office/drawing/2014/main" id="{A1522354-5A03-48E3-8D8B-79D3A8A9033C}"/>
                </a:ext>
              </a:extLst>
            </p:cNvPr>
            <p:cNvSpPr/>
            <p:nvPr/>
          </p:nvSpPr>
          <p:spPr>
            <a:xfrm>
              <a:off x="1092387" y="14547957"/>
              <a:ext cx="482200" cy="964400"/>
            </a:xfrm>
            <a:custGeom>
              <a:avLst/>
              <a:gdLst>
                <a:gd name="connsiteX0" fmla="*/ 0 w 543877"/>
                <a:gd name="connsiteY0" fmla="*/ 0 h 1087754"/>
                <a:gd name="connsiteX1" fmla="*/ 0 w 543877"/>
                <a:gd name="connsiteY1" fmla="*/ 228600 h 1087754"/>
                <a:gd name="connsiteX2" fmla="*/ 315278 w 543877"/>
                <a:gd name="connsiteY2" fmla="*/ 543878 h 1087754"/>
                <a:gd name="connsiteX3" fmla="*/ 0 w 543877"/>
                <a:gd name="connsiteY3" fmla="*/ 859155 h 1087754"/>
                <a:gd name="connsiteX4" fmla="*/ 0 w 543877"/>
                <a:gd name="connsiteY4" fmla="*/ 1087755 h 1087754"/>
                <a:gd name="connsiteX5" fmla="*/ 543878 w 543877"/>
                <a:gd name="connsiteY5" fmla="*/ 543878 h 108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877" h="1087754">
                  <a:moveTo>
                    <a:pt x="0" y="0"/>
                  </a:moveTo>
                  <a:lnTo>
                    <a:pt x="0" y="228600"/>
                  </a:lnTo>
                  <a:lnTo>
                    <a:pt x="315278" y="543878"/>
                  </a:lnTo>
                  <a:lnTo>
                    <a:pt x="0" y="859155"/>
                  </a:lnTo>
                  <a:lnTo>
                    <a:pt x="0" y="1087755"/>
                  </a:lnTo>
                  <a:lnTo>
                    <a:pt x="543878" y="54387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96" dirty="0">
                <a:latin typeface="Montserrat" panose="00000500000000000000" pitchFamily="2" charset="-52"/>
                <a:cs typeface="DIN Pro Regular" panose="020B0504020101020102" pitchFamily="34" charset="0"/>
              </a:endParaRPr>
            </a:p>
          </p:txBody>
        </p:sp>
        <p:sp>
          <p:nvSpPr>
            <p:cNvPr id="5" name="Рисунок 54">
              <a:extLst>
                <a:ext uri="{FF2B5EF4-FFF2-40B4-BE49-F238E27FC236}">
                  <a16:creationId xmlns:a16="http://schemas.microsoft.com/office/drawing/2014/main" id="{5DD1EA51-F1D4-4A92-B75B-64062880A224}"/>
                </a:ext>
              </a:extLst>
            </p:cNvPr>
            <p:cNvSpPr/>
            <p:nvPr/>
          </p:nvSpPr>
          <p:spPr>
            <a:xfrm>
              <a:off x="1574587" y="14547957"/>
              <a:ext cx="482200" cy="964400"/>
            </a:xfrm>
            <a:custGeom>
              <a:avLst/>
              <a:gdLst>
                <a:gd name="connsiteX0" fmla="*/ 0 w 543877"/>
                <a:gd name="connsiteY0" fmla="*/ 0 h 1087754"/>
                <a:gd name="connsiteX1" fmla="*/ 0 w 543877"/>
                <a:gd name="connsiteY1" fmla="*/ 228600 h 1087754"/>
                <a:gd name="connsiteX2" fmla="*/ 315278 w 543877"/>
                <a:gd name="connsiteY2" fmla="*/ 543878 h 1087754"/>
                <a:gd name="connsiteX3" fmla="*/ 0 w 543877"/>
                <a:gd name="connsiteY3" fmla="*/ 859155 h 1087754"/>
                <a:gd name="connsiteX4" fmla="*/ 0 w 543877"/>
                <a:gd name="connsiteY4" fmla="*/ 1087755 h 1087754"/>
                <a:gd name="connsiteX5" fmla="*/ 543878 w 543877"/>
                <a:gd name="connsiteY5" fmla="*/ 543878 h 108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877" h="1087754">
                  <a:moveTo>
                    <a:pt x="0" y="0"/>
                  </a:moveTo>
                  <a:lnTo>
                    <a:pt x="0" y="228600"/>
                  </a:lnTo>
                  <a:lnTo>
                    <a:pt x="315278" y="543878"/>
                  </a:lnTo>
                  <a:lnTo>
                    <a:pt x="0" y="859155"/>
                  </a:lnTo>
                  <a:lnTo>
                    <a:pt x="0" y="1087755"/>
                  </a:lnTo>
                  <a:lnTo>
                    <a:pt x="543878" y="54387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96" dirty="0">
                <a:latin typeface="Montserrat" panose="00000500000000000000" pitchFamily="2" charset="-52"/>
                <a:cs typeface="DIN Pro Regular" panose="020B0504020101020102" pitchFamily="34" charset="0"/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E472F35-F650-4D7D-AC6A-95878FC4A6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302742" y="200424"/>
            <a:ext cx="461735" cy="454421"/>
          </a:xfrm>
          <a:prstGeom prst="rect">
            <a:avLst/>
          </a:prstGeom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95CA0EAF-A854-4F21-AA67-4D7E77723A41}"/>
              </a:ext>
            </a:extLst>
          </p:cNvPr>
          <p:cNvCxnSpPr/>
          <p:nvPr/>
        </p:nvCxnSpPr>
        <p:spPr>
          <a:xfrm>
            <a:off x="0" y="5845969"/>
            <a:ext cx="12192000" cy="0"/>
          </a:xfrm>
          <a:prstGeom prst="line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4569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2">
          <p15:clr>
            <a:srgbClr val="FBAE40"/>
          </p15:clr>
        </p15:guide>
        <p15:guide id="2" orient="horz" pos="9866">
          <p15:clr>
            <a:srgbClr val="FBAE40"/>
          </p15:clr>
        </p15:guide>
        <p15:guide id="3" pos="684">
          <p15:clr>
            <a:srgbClr val="FBAE40"/>
          </p15:clr>
        </p15:guide>
        <p15:guide id="4" pos="173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06EF9B-3081-47F2-8079-24FC63E280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0F43CCA-D724-4904-928C-A13D3CDA10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D976FA0-CB2C-4881-BAFE-44EA2113F0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CFFAB4A-E9BD-4E20-BA7C-EF202F520E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BBB49DA0-EF2C-4B66-A562-27DB348DB4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C06B50A-CFEF-4C67-97CF-919808C9D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2ADF03B-F5B8-441E-8DA3-3A7482BA7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5011AEF-9E3B-4794-B9D6-C5CDC9049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1703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CBE83297-2C1B-4E30-87BB-913B6C1017E4}"/>
              </a:ext>
            </a:extLst>
          </p:cNvPr>
          <p:cNvSpPr/>
          <p:nvPr/>
        </p:nvSpPr>
        <p:spPr>
          <a:xfrm>
            <a:off x="0" y="2749"/>
            <a:ext cx="12192000" cy="6855251"/>
          </a:xfrm>
          <a:prstGeom prst="rect">
            <a:avLst/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21594000" scaled="0"/>
          </a:gradFill>
          <a:ln w="3562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sz="1187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: один усеченный угол 14">
            <a:extLst>
              <a:ext uri="{FF2B5EF4-FFF2-40B4-BE49-F238E27FC236}">
                <a16:creationId xmlns:a16="http://schemas.microsoft.com/office/drawing/2014/main" id="{7BCCC43A-3144-4CA7-9772-6496587E5D24}"/>
              </a:ext>
            </a:extLst>
          </p:cNvPr>
          <p:cNvSpPr/>
          <p:nvPr/>
        </p:nvSpPr>
        <p:spPr>
          <a:xfrm rot="10800000" flipV="1">
            <a:off x="327943" y="6071958"/>
            <a:ext cx="12102111" cy="819141"/>
          </a:xfrm>
          <a:prstGeom prst="snip1Rect">
            <a:avLst>
              <a:gd name="adj" fmla="val 30000"/>
            </a:avLst>
          </a:prstGeom>
          <a:gradFill flip="none" rotWithShape="0">
            <a:gsLst>
              <a:gs pos="0">
                <a:srgbClr val="1E77BC"/>
              </a:gs>
              <a:gs pos="100000">
                <a:srgbClr val="404DA0"/>
              </a:gs>
            </a:gsLst>
            <a:lin ang="21594000" scaled="0"/>
            <a:tileRect/>
          </a:gradFill>
          <a:ln w="3562" cap="flat">
            <a:noFill/>
            <a:prstDash val="solid"/>
            <a:miter/>
          </a:ln>
          <a:effectLst>
            <a:outerShdw blurRad="101600" dist="152400" dir="12780000" algn="tl" rotWithShape="0">
              <a:schemeClr val="accent5">
                <a:lumMod val="60000"/>
                <a:lumOff val="40000"/>
                <a:alpha val="40000"/>
              </a:schemeClr>
            </a:outerShdw>
          </a:effectLst>
        </p:spPr>
        <p:txBody>
          <a:bodyPr rtlCol="0" anchor="ctr"/>
          <a:lstStyle/>
          <a:p>
            <a:pPr lvl="0"/>
            <a:endParaRPr lang="ru-RU" sz="1187">
              <a:solidFill>
                <a:schemeClr val="tx1"/>
              </a:solidFill>
            </a:endParaRPr>
          </a:p>
        </p:txBody>
      </p:sp>
      <p:sp>
        <p:nvSpPr>
          <p:cNvPr id="6" name="Прямоугольник: один усеченный угол 5">
            <a:extLst>
              <a:ext uri="{FF2B5EF4-FFF2-40B4-BE49-F238E27FC236}">
                <a16:creationId xmlns:a16="http://schemas.microsoft.com/office/drawing/2014/main" id="{2D9A11EA-481D-41D3-9722-8B41B4A25F05}"/>
              </a:ext>
            </a:extLst>
          </p:cNvPr>
          <p:cNvSpPr/>
          <p:nvPr/>
        </p:nvSpPr>
        <p:spPr>
          <a:xfrm flipV="1">
            <a:off x="-137814" y="-135193"/>
            <a:ext cx="12102111" cy="819141"/>
          </a:xfrm>
          <a:prstGeom prst="snip1Rect">
            <a:avLst>
              <a:gd name="adj" fmla="val 30000"/>
            </a:avLst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21594000" scaled="0"/>
          </a:gradFill>
          <a:ln w="3562" cap="flat">
            <a:noFill/>
            <a:prstDash val="solid"/>
            <a:miter/>
          </a:ln>
          <a:effectLst>
            <a:outerShdw blurRad="101600" dist="152400" dir="2700000" algn="tl" rotWithShape="0">
              <a:schemeClr val="accent5">
                <a:lumMod val="60000"/>
                <a:lumOff val="40000"/>
                <a:alpha val="40000"/>
              </a:schemeClr>
            </a:outerShdw>
          </a:effectLst>
        </p:spPr>
        <p:txBody>
          <a:bodyPr rtlCol="0" anchor="ctr"/>
          <a:lstStyle/>
          <a:p>
            <a:pPr lvl="0"/>
            <a:endParaRPr lang="ru-RU" sz="1187">
              <a:solidFill>
                <a:schemeClr val="tx1"/>
              </a:solidFill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B03FEF6-AD8C-4C35-AB23-E74D68D65A37}"/>
              </a:ext>
            </a:extLst>
          </p:cNvPr>
          <p:cNvGrpSpPr/>
          <p:nvPr/>
        </p:nvGrpSpPr>
        <p:grpSpPr>
          <a:xfrm>
            <a:off x="668817" y="6284092"/>
            <a:ext cx="409633" cy="401833"/>
            <a:chOff x="1092387" y="14547957"/>
            <a:chExt cx="964400" cy="964400"/>
          </a:xfrm>
        </p:grpSpPr>
        <p:sp>
          <p:nvSpPr>
            <p:cNvPr id="4" name="Рисунок 54">
              <a:extLst>
                <a:ext uri="{FF2B5EF4-FFF2-40B4-BE49-F238E27FC236}">
                  <a16:creationId xmlns:a16="http://schemas.microsoft.com/office/drawing/2014/main" id="{A1522354-5A03-48E3-8D8B-79D3A8A9033C}"/>
                </a:ext>
              </a:extLst>
            </p:cNvPr>
            <p:cNvSpPr/>
            <p:nvPr/>
          </p:nvSpPr>
          <p:spPr>
            <a:xfrm>
              <a:off x="1092387" y="14547957"/>
              <a:ext cx="482200" cy="964400"/>
            </a:xfrm>
            <a:custGeom>
              <a:avLst/>
              <a:gdLst>
                <a:gd name="connsiteX0" fmla="*/ 0 w 543877"/>
                <a:gd name="connsiteY0" fmla="*/ 0 h 1087754"/>
                <a:gd name="connsiteX1" fmla="*/ 0 w 543877"/>
                <a:gd name="connsiteY1" fmla="*/ 228600 h 1087754"/>
                <a:gd name="connsiteX2" fmla="*/ 315278 w 543877"/>
                <a:gd name="connsiteY2" fmla="*/ 543878 h 1087754"/>
                <a:gd name="connsiteX3" fmla="*/ 0 w 543877"/>
                <a:gd name="connsiteY3" fmla="*/ 859155 h 1087754"/>
                <a:gd name="connsiteX4" fmla="*/ 0 w 543877"/>
                <a:gd name="connsiteY4" fmla="*/ 1087755 h 1087754"/>
                <a:gd name="connsiteX5" fmla="*/ 543878 w 543877"/>
                <a:gd name="connsiteY5" fmla="*/ 543878 h 108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877" h="1087754">
                  <a:moveTo>
                    <a:pt x="0" y="0"/>
                  </a:moveTo>
                  <a:lnTo>
                    <a:pt x="0" y="228600"/>
                  </a:lnTo>
                  <a:lnTo>
                    <a:pt x="315278" y="543878"/>
                  </a:lnTo>
                  <a:lnTo>
                    <a:pt x="0" y="859155"/>
                  </a:lnTo>
                  <a:lnTo>
                    <a:pt x="0" y="1087755"/>
                  </a:lnTo>
                  <a:lnTo>
                    <a:pt x="543878" y="54387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96" dirty="0">
                <a:latin typeface="Montserrat" panose="00000500000000000000" pitchFamily="2" charset="-52"/>
                <a:cs typeface="DIN Pro Regular" panose="020B0504020101020102" pitchFamily="34" charset="0"/>
              </a:endParaRPr>
            </a:p>
          </p:txBody>
        </p:sp>
        <p:sp>
          <p:nvSpPr>
            <p:cNvPr id="5" name="Рисунок 54">
              <a:extLst>
                <a:ext uri="{FF2B5EF4-FFF2-40B4-BE49-F238E27FC236}">
                  <a16:creationId xmlns:a16="http://schemas.microsoft.com/office/drawing/2014/main" id="{5DD1EA51-F1D4-4A92-B75B-64062880A224}"/>
                </a:ext>
              </a:extLst>
            </p:cNvPr>
            <p:cNvSpPr/>
            <p:nvPr/>
          </p:nvSpPr>
          <p:spPr>
            <a:xfrm>
              <a:off x="1574587" y="14547957"/>
              <a:ext cx="482200" cy="964400"/>
            </a:xfrm>
            <a:custGeom>
              <a:avLst/>
              <a:gdLst>
                <a:gd name="connsiteX0" fmla="*/ 0 w 543877"/>
                <a:gd name="connsiteY0" fmla="*/ 0 h 1087754"/>
                <a:gd name="connsiteX1" fmla="*/ 0 w 543877"/>
                <a:gd name="connsiteY1" fmla="*/ 228600 h 1087754"/>
                <a:gd name="connsiteX2" fmla="*/ 315278 w 543877"/>
                <a:gd name="connsiteY2" fmla="*/ 543878 h 1087754"/>
                <a:gd name="connsiteX3" fmla="*/ 0 w 543877"/>
                <a:gd name="connsiteY3" fmla="*/ 859155 h 1087754"/>
                <a:gd name="connsiteX4" fmla="*/ 0 w 543877"/>
                <a:gd name="connsiteY4" fmla="*/ 1087755 h 1087754"/>
                <a:gd name="connsiteX5" fmla="*/ 543878 w 543877"/>
                <a:gd name="connsiteY5" fmla="*/ 543878 h 108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877" h="1087754">
                  <a:moveTo>
                    <a:pt x="0" y="0"/>
                  </a:moveTo>
                  <a:lnTo>
                    <a:pt x="0" y="228600"/>
                  </a:lnTo>
                  <a:lnTo>
                    <a:pt x="315278" y="543878"/>
                  </a:lnTo>
                  <a:lnTo>
                    <a:pt x="0" y="859155"/>
                  </a:lnTo>
                  <a:lnTo>
                    <a:pt x="0" y="1087755"/>
                  </a:lnTo>
                  <a:lnTo>
                    <a:pt x="543878" y="54387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96" dirty="0">
                <a:latin typeface="Montserrat" panose="00000500000000000000" pitchFamily="2" charset="-52"/>
                <a:cs typeface="DIN Pro Regular" panose="020B0504020101020102" pitchFamily="34" charset="0"/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E472F35-F650-4D7D-AC6A-95878FC4A6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328075" y="102100"/>
            <a:ext cx="461735" cy="4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440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4">
          <p15:clr>
            <a:srgbClr val="FBAE40"/>
          </p15:clr>
        </p15:guide>
        <p15:guide id="2" orient="horz" pos="9130">
          <p15:clr>
            <a:srgbClr val="FBAE40"/>
          </p15:clr>
        </p15:guide>
        <p15:guide id="3" pos="684">
          <p15:clr>
            <a:srgbClr val="FBAE40"/>
          </p15:clr>
        </p15:guide>
        <p15:guide id="4" pos="173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CBE83297-2C1B-4E30-87BB-913B6C1017E4}"/>
              </a:ext>
            </a:extLst>
          </p:cNvPr>
          <p:cNvSpPr/>
          <p:nvPr/>
        </p:nvSpPr>
        <p:spPr>
          <a:xfrm>
            <a:off x="0" y="2749"/>
            <a:ext cx="12192000" cy="6855251"/>
          </a:xfrm>
          <a:prstGeom prst="rect">
            <a:avLst/>
          </a:prstGeom>
          <a:gradFill flip="none" rotWithShape="1">
            <a:gsLst>
              <a:gs pos="0">
                <a:srgbClr val="0077C8"/>
              </a:gs>
              <a:gs pos="100000">
                <a:srgbClr val="009EB2"/>
              </a:gs>
            </a:gsLst>
            <a:lin ang="21594000" scaled="0"/>
            <a:tileRect/>
          </a:gradFill>
          <a:ln w="12700">
            <a:miter lim="400000"/>
          </a:ln>
        </p:spPr>
        <p:txBody>
          <a:bodyPr lIns="18687" tIns="18687" rIns="18687" bIns="18687" anchor="ctr"/>
          <a:lstStyle/>
          <a:p>
            <a:pPr defTabSz="303699"/>
            <a:endParaRPr lang="ru-RU" sz="1177" dirty="0">
              <a:solidFill>
                <a:srgbClr val="FFFFFF"/>
              </a:solidFill>
              <a:latin typeface="Montserrat" panose="00000500000000000000" pitchFamily="2" charset="-52"/>
              <a:ea typeface="Helvetica Neue Medium"/>
              <a:cs typeface="DIN Pro Medium" panose="020B0604020101020102" pitchFamily="34" charset="0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45D0AEB5-6D00-4660-8B22-6277A8FB855B}"/>
              </a:ext>
            </a:extLst>
          </p:cNvPr>
          <p:cNvGrpSpPr/>
          <p:nvPr/>
        </p:nvGrpSpPr>
        <p:grpSpPr>
          <a:xfrm>
            <a:off x="-29129" y="3"/>
            <a:ext cx="12239624" cy="1195732"/>
            <a:chOff x="-68579" y="6435567"/>
            <a:chExt cx="28815708" cy="2869758"/>
          </a:xfrm>
        </p:grpSpPr>
        <p:sp>
          <p:nvSpPr>
            <p:cNvPr id="21" name="Рисунок 19">
              <a:extLst>
                <a:ext uri="{FF2B5EF4-FFF2-40B4-BE49-F238E27FC236}">
                  <a16:creationId xmlns:a16="http://schemas.microsoft.com/office/drawing/2014/main" id="{576F1E66-1D57-4619-89D7-FA97DE659C74}"/>
                </a:ext>
              </a:extLst>
            </p:cNvPr>
            <p:cNvSpPr/>
            <p:nvPr/>
          </p:nvSpPr>
          <p:spPr>
            <a:xfrm>
              <a:off x="0" y="6435567"/>
              <a:ext cx="28703586" cy="2864896"/>
            </a:xfrm>
            <a:custGeom>
              <a:avLst/>
              <a:gdLst>
                <a:gd name="connsiteX0" fmla="*/ 28703586 w 28703586"/>
                <a:gd name="connsiteY0" fmla="*/ 2864897 h 2864896"/>
                <a:gd name="connsiteX1" fmla="*/ 27108758 w 28703586"/>
                <a:gd name="connsiteY1" fmla="*/ 1624292 h 2864896"/>
                <a:gd name="connsiteX2" fmla="*/ 23632196 w 28703586"/>
                <a:gd name="connsiteY2" fmla="*/ 1624292 h 2864896"/>
                <a:gd name="connsiteX3" fmla="*/ 9896133 w 28703586"/>
                <a:gd name="connsiteY3" fmla="*/ 1624292 h 2864896"/>
                <a:gd name="connsiteX4" fmla="*/ 0 w 28703586"/>
                <a:gd name="connsiteY4" fmla="*/ 1624292 h 2864896"/>
                <a:gd name="connsiteX5" fmla="*/ 0 w 28703586"/>
                <a:gd name="connsiteY5" fmla="*/ 0 h 2864896"/>
                <a:gd name="connsiteX6" fmla="*/ 23632322 w 28703586"/>
                <a:gd name="connsiteY6" fmla="*/ 0 h 2864896"/>
                <a:gd name="connsiteX7" fmla="*/ 28703586 w 28703586"/>
                <a:gd name="connsiteY7" fmla="*/ 0 h 2864896"/>
                <a:gd name="connsiteX8" fmla="*/ 28703586 w 28703586"/>
                <a:gd name="connsiteY8" fmla="*/ 2864897 h 2864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03586" h="2864896">
                  <a:moveTo>
                    <a:pt x="28703586" y="2864897"/>
                  </a:moveTo>
                  <a:cubicBezTo>
                    <a:pt x="28521966" y="2153912"/>
                    <a:pt x="27874230" y="1624292"/>
                    <a:pt x="27108758" y="1624292"/>
                  </a:cubicBezTo>
                  <a:lnTo>
                    <a:pt x="23632196" y="1624292"/>
                  </a:lnTo>
                  <a:cubicBezTo>
                    <a:pt x="23632196" y="1624292"/>
                    <a:pt x="9896133" y="1624292"/>
                    <a:pt x="9896133" y="1624292"/>
                  </a:cubicBezTo>
                  <a:lnTo>
                    <a:pt x="0" y="1624292"/>
                  </a:lnTo>
                  <a:lnTo>
                    <a:pt x="0" y="0"/>
                  </a:lnTo>
                  <a:lnTo>
                    <a:pt x="23632322" y="0"/>
                  </a:lnTo>
                  <a:cubicBezTo>
                    <a:pt x="23632322" y="0"/>
                    <a:pt x="28703586" y="0"/>
                    <a:pt x="28703586" y="0"/>
                  </a:cubicBezTo>
                  <a:lnTo>
                    <a:pt x="28703586" y="2864897"/>
                  </a:lnTo>
                  <a:close/>
                </a:path>
              </a:pathLst>
            </a:custGeom>
            <a:gradFill>
              <a:gsLst>
                <a:gs pos="0">
                  <a:srgbClr val="1E77BC"/>
                </a:gs>
                <a:gs pos="100000">
                  <a:srgbClr val="404DA0"/>
                </a:gs>
              </a:gsLst>
              <a:lin ang="10800000" scaled="0"/>
            </a:gradFill>
            <a:ln w="3562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1187">
                <a:solidFill>
                  <a:schemeClr val="tx1"/>
                </a:solidFill>
              </a:endParaRPr>
            </a:p>
          </p:txBody>
        </p:sp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79C406C6-A44B-4DF1-93E3-E3EF38ECC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-68579" y="8055794"/>
              <a:ext cx="28815708" cy="1249531"/>
            </a:xfrm>
            <a:prstGeom prst="rect">
              <a:avLst/>
            </a:prstGeom>
          </p:spPr>
        </p:pic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E472F35-F650-4D7D-AC6A-95878FC4A6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302742" y="102100"/>
            <a:ext cx="461735" cy="454421"/>
          </a:xfrm>
          <a:prstGeom prst="rect">
            <a:avLst/>
          </a:prstGeom>
        </p:spPr>
      </p:pic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115D1F28-005C-495E-AE6A-D69E2AE84DAC}"/>
              </a:ext>
            </a:extLst>
          </p:cNvPr>
          <p:cNvSpPr/>
          <p:nvPr/>
        </p:nvSpPr>
        <p:spPr>
          <a:xfrm>
            <a:off x="506703" y="1073909"/>
            <a:ext cx="5056091" cy="471863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10800000" scaled="0"/>
          </a:gradFill>
          <a:ln w="38100" cap="flat">
            <a:solidFill>
              <a:schemeClr val="accent5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 sz="1187">
              <a:solidFill>
                <a:schemeClr val="tx1"/>
              </a:solidFill>
            </a:endParaRP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E88445CE-89F7-44B0-9885-71BF7074B3C3}"/>
              </a:ext>
            </a:extLst>
          </p:cNvPr>
          <p:cNvSpPr/>
          <p:nvPr/>
        </p:nvSpPr>
        <p:spPr>
          <a:xfrm>
            <a:off x="6033172" y="1073909"/>
            <a:ext cx="5644409" cy="471863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10800000" scaled="0"/>
          </a:gradFill>
          <a:ln w="38100" cap="flat">
            <a:solidFill>
              <a:schemeClr val="accent5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 sz="1187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958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2">
          <p15:clr>
            <a:srgbClr val="FBAE40"/>
          </p15:clr>
        </p15:guide>
        <p15:guide id="2" orient="horz" pos="9866">
          <p15:clr>
            <a:srgbClr val="FBAE40"/>
          </p15:clr>
        </p15:guide>
        <p15:guide id="3" pos="684">
          <p15:clr>
            <a:srgbClr val="FBAE40"/>
          </p15:clr>
        </p15:guide>
        <p15:guide id="4" pos="173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">
            <a:extLst>
              <a:ext uri="{FF2B5EF4-FFF2-40B4-BE49-F238E27FC236}">
                <a16:creationId xmlns:a16="http://schemas.microsoft.com/office/drawing/2014/main" id="{F9FFDB4D-0466-4480-B42D-6942D1E61981}"/>
              </a:ext>
            </a:extLst>
          </p:cNvPr>
          <p:cNvSpPr/>
          <p:nvPr/>
        </p:nvSpPr>
        <p:spPr>
          <a:xfrm>
            <a:off x="0" y="2749"/>
            <a:ext cx="12192000" cy="6855251"/>
          </a:xfrm>
          <a:prstGeom prst="rect">
            <a:avLst/>
          </a:prstGeom>
          <a:gradFill flip="none" rotWithShape="1">
            <a:gsLst>
              <a:gs pos="0">
                <a:srgbClr val="0077C8"/>
              </a:gs>
              <a:gs pos="100000">
                <a:srgbClr val="009EB2"/>
              </a:gs>
            </a:gsLst>
            <a:lin ang="21594000" scaled="0"/>
            <a:tileRect/>
          </a:gradFill>
          <a:ln w="12700">
            <a:miter lim="400000"/>
          </a:ln>
        </p:spPr>
        <p:txBody>
          <a:bodyPr lIns="18687" tIns="18687" rIns="18687" bIns="18687" anchor="ctr"/>
          <a:lstStyle/>
          <a:p>
            <a:pPr defTabSz="303699"/>
            <a:endParaRPr sz="1177" dirty="0">
              <a:solidFill>
                <a:srgbClr val="FFFFFF"/>
              </a:solidFill>
              <a:latin typeface="Montserrat" panose="00000500000000000000" pitchFamily="2" charset="-52"/>
              <a:ea typeface="Helvetica Neue Medium"/>
              <a:cs typeface="DIN Pro Medium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410906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">
            <a:extLst>
              <a:ext uri="{FF2B5EF4-FFF2-40B4-BE49-F238E27FC236}">
                <a16:creationId xmlns:a16="http://schemas.microsoft.com/office/drawing/2014/main" id="{F9FFDB4D-0466-4480-B42D-6942D1E61981}"/>
              </a:ext>
            </a:extLst>
          </p:cNvPr>
          <p:cNvSpPr/>
          <p:nvPr/>
        </p:nvSpPr>
        <p:spPr>
          <a:xfrm>
            <a:off x="0" y="2749"/>
            <a:ext cx="12192000" cy="6855251"/>
          </a:xfrm>
          <a:prstGeom prst="rect">
            <a:avLst/>
          </a:prstGeom>
          <a:gradFill flip="none" rotWithShape="1">
            <a:gsLst>
              <a:gs pos="0">
                <a:srgbClr val="0077C8"/>
              </a:gs>
              <a:gs pos="100000">
                <a:srgbClr val="009EB2"/>
              </a:gs>
            </a:gsLst>
            <a:lin ang="21594000" scaled="0"/>
            <a:tileRect/>
          </a:gradFill>
          <a:ln w="12700">
            <a:miter lim="400000"/>
          </a:ln>
        </p:spPr>
        <p:txBody>
          <a:bodyPr lIns="18687" tIns="18687" rIns="18687" bIns="18687" anchor="ctr"/>
          <a:lstStyle/>
          <a:p>
            <a:pPr defTabSz="303699"/>
            <a:endParaRPr sz="1177" dirty="0">
              <a:solidFill>
                <a:srgbClr val="FFFFFF"/>
              </a:solidFill>
              <a:latin typeface="Montserrat" panose="00000500000000000000" pitchFamily="2" charset="-52"/>
              <a:ea typeface="Helvetica Neue Medium"/>
              <a:cs typeface="DIN Pro Medium" panose="020B0604020101020102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FDBA723-AD8A-4A12-8F74-F79004C5B5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302742" y="200424"/>
            <a:ext cx="461735" cy="454421"/>
          </a:xfrm>
          <a:prstGeom prst="rect">
            <a:avLst/>
          </a:prstGeom>
        </p:spPr>
      </p:pic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31140924-6753-4B48-9761-F7F264F4877D}"/>
              </a:ext>
            </a:extLst>
          </p:cNvPr>
          <p:cNvSpPr/>
          <p:nvPr/>
        </p:nvSpPr>
        <p:spPr>
          <a:xfrm>
            <a:off x="506704" y="1050606"/>
            <a:ext cx="4744849" cy="471863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10800000" scaled="0"/>
          </a:gradFill>
          <a:ln w="38100" cap="flat">
            <a:solidFill>
              <a:schemeClr val="accent5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 sz="1187">
              <a:solidFill>
                <a:schemeClr val="tx1"/>
              </a:solidFill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658792AA-D450-49D7-93FC-5DF226FFCDCB}"/>
              </a:ext>
            </a:extLst>
          </p:cNvPr>
          <p:cNvSpPr/>
          <p:nvPr/>
        </p:nvSpPr>
        <p:spPr>
          <a:xfrm>
            <a:off x="6033172" y="1050606"/>
            <a:ext cx="5644409" cy="471863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1E77BC"/>
              </a:gs>
              <a:gs pos="100000">
                <a:srgbClr val="404DA0"/>
              </a:gs>
            </a:gsLst>
            <a:lin ang="10800000" scaled="0"/>
          </a:gradFill>
          <a:ln w="38100" cap="flat">
            <a:solidFill>
              <a:schemeClr val="accent5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 sz="1187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472288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A6F0610-9F75-A06C-6E94-CC01A000336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76" y="6356806"/>
            <a:ext cx="2742973" cy="365125"/>
          </a:xfrm>
          <a:prstGeom prst="rect">
            <a:avLst/>
          </a:prstGeom>
        </p:spPr>
        <p:txBody>
          <a:bodyPr/>
          <a:lstStyle/>
          <a:p>
            <a:fld id="{D41D0B3D-B615-4A3D-B7E0-9DF89FD0F68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7C0C3FF-A92B-D43D-F5E3-340122E8B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9055" y="6356806"/>
            <a:ext cx="4113893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03BCBD0-5FE1-F5F7-61BB-C215B48943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6363" y="6532138"/>
            <a:ext cx="192360" cy="189796"/>
          </a:xfrm>
          <a:prstGeom prst="rect">
            <a:avLst/>
          </a:prstGeom>
        </p:spPr>
        <p:txBody>
          <a:bodyPr/>
          <a:lstStyle/>
          <a:p>
            <a:fld id="{EE0B2973-4781-42A1-850C-7378F1695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5060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D8C13B9-2547-79C8-40CD-9B354A48A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785D3FD-264E-6439-8CE5-9706C4E662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09F2F21-CACA-6829-D73E-446129E56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D0B3D-B615-4A3D-B7E0-9DF89FD0F68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6B8B09-FAD5-67A9-13CA-E338BC521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3C8B94-F270-0016-005E-C17EE50DE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B2973-4781-42A1-850C-7378F1695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10124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CB3474-9894-31A0-6384-7D00D7F90C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46DED59-B6AC-02D7-8FE0-C84BE746D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FCAE5A1-2495-00D2-2509-F8FD33BE2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D0B3D-B615-4A3D-B7E0-9DF89FD0F68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89CE6F4-E974-9B37-6F98-553D0182B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FAC100-1DEF-CABE-9A08-7E0429B62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B2973-4781-42A1-850C-7378F1695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18036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68DA57D-9FCA-42D2-BC97-64CF55A6B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FEA3597-E53C-4358-8707-54A6CA809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6605576-D65E-4092-B2A2-DC073B3ED4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0D8764C-34ED-4639-8EF6-AD76D0BED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0861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9246C7D-011D-409D-853B-409A667AF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9AD2EC4-0444-4A37-BD1B-3DCEABCE7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0539A43-563B-452C-9ACF-6394C1A2B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95593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3CE8B0C-F9DA-4AA9-8C33-9B352A279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6918E01-B678-4CC0-8DDB-28EA49B3E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8E2FBF8-889E-44FF-8800-3CD9BD1752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097FB89-902F-4BA3-A0E6-16CCB35E0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F6DBFF6-1020-4C0F-9A81-940B8C423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5C733AD-2BF4-4CE9-87E7-5AF034398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8919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E55208-B2D3-4244-9D94-2796F0FAF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479B1BA-4551-465E-AA2A-3B0F37D065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17D0EA7-5585-45C7-8F6B-89E6D06042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1482E80-B24E-4585-A9EA-347D5AB6A7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4181-3350-496D-AADB-A8568EC2BE06}" type="datetimeFigureOut">
              <a:rPr lang="ru-RU" smtClean="0"/>
              <a:t>12.1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4294F44-882B-4EDD-9D74-834CCEC2B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8585F83-4195-4872-9D5A-79521C2D1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18B7D-DE75-4F57-BF14-8C26B7D819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7001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20.jpe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5E438E-760D-413D-89D3-203759588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F6B39AD-FEAF-4FA1-9047-7C02933BF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2C57F18-6642-4694-9F52-0BDEE11DB0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0D9E4181-3350-496D-AADB-A8568EC2BE06}" type="datetimeFigureOut">
              <a:rPr lang="ru-RU" smtClean="0"/>
              <a:pPr/>
              <a:t>12.12.2025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212BA71-ACE9-4B32-A1B5-C6FB55F745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C8F1C9B-292A-4AB7-9AF7-16D36DDD37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CB418B7D-DE75-4F57-BF14-8C26B7D819E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227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3" name="Рисунок 1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90283" y="6481572"/>
            <a:ext cx="868325" cy="22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27063" y="152418"/>
            <a:ext cx="1111461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27054" y="855617"/>
            <a:ext cx="11114617" cy="5516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cxnSp>
        <p:nvCxnSpPr>
          <p:cNvPr id="7" name="Straight Connector 85">
            <a:extLst>
              <a:ext uri="{FF2B5EF4-FFF2-40B4-BE49-F238E27FC236}">
                <a16:creationId xmlns:a16="http://schemas.microsoft.com/office/drawing/2014/main" id="{3D514510-0222-4D1F-854C-9071A2FAA94C}"/>
              </a:ext>
            </a:extLst>
          </p:cNvPr>
          <p:cNvCxnSpPr>
            <a:cxnSpLocks/>
          </p:cNvCxnSpPr>
          <p:nvPr userDrawn="1"/>
        </p:nvCxnSpPr>
        <p:spPr>
          <a:xfrm>
            <a:off x="835077" y="6587760"/>
            <a:ext cx="9858687" cy="0"/>
          </a:xfrm>
          <a:prstGeom prst="line">
            <a:avLst/>
          </a:prstGeom>
          <a:ln w="6350">
            <a:solidFill>
              <a:srgbClr val="018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">
            <a:extLst>
              <a:ext uri="{FF2B5EF4-FFF2-40B4-BE49-F238E27FC236}">
                <a16:creationId xmlns:a16="http://schemas.microsoft.com/office/drawing/2014/main" id="{EF5C1852-B2CB-4781-96AF-9949CD9C2F6A}"/>
              </a:ext>
            </a:extLst>
          </p:cNvPr>
          <p:cNvSpPr txBox="1">
            <a:spLocks/>
          </p:cNvSpPr>
          <p:nvPr/>
        </p:nvSpPr>
        <p:spPr bwMode="gray">
          <a:xfrm>
            <a:off x="537636" y="6530495"/>
            <a:ext cx="461433" cy="12323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5A4B01A-27D0-4DB5-A045-8D6724009A4B}" type="slidenum">
              <a:rPr lang="ru-RU" sz="801" smtClean="0">
                <a:solidFill>
                  <a:srgbClr val="0073C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1" dirty="0">
              <a:solidFill>
                <a:srgbClr val="0073C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37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1" b="0" kern="1200">
          <a:solidFill>
            <a:srgbClr val="1E86C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14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28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43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5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1001"/>
        </a:spcBef>
        <a:spcAft>
          <a:spcPct val="0"/>
        </a:spcAft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457143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defRPr sz="140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14288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37143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57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286" indent="-228573" algn="l" defTabSz="9142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0" indent="-228573" algn="l" defTabSz="9142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3" indent="-228573" algn="l" defTabSz="9142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4" indent="-228573" algn="l" defTabSz="9142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288" algn="l" defTabSz="91428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0" algn="l" defTabSz="91428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0" algn="l" defTabSz="91428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5" algn="l" defTabSz="91428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8" algn="l" defTabSz="91428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">
          <p15:clr>
            <a:srgbClr val="F26B43"/>
          </p15:clr>
        </p15:guide>
        <p15:guide id="2" pos="5511">
          <p15:clr>
            <a:srgbClr val="F26B43"/>
          </p15:clr>
        </p15:guide>
        <p15:guide id="3" pos="249">
          <p15:clr>
            <a:srgbClr val="F26B43"/>
          </p15:clr>
        </p15:guide>
        <p15:guide id="4" orient="horz" pos="301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27055" y="152404"/>
            <a:ext cx="9960556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  <a:endParaRPr lang="en-US" altLang="ru-RU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27052" y="855617"/>
            <a:ext cx="11114616" cy="5516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  <a:p>
            <a:pPr lvl="2"/>
            <a:r>
              <a:rPr lang="ru-RU" altLang="ru-RU" dirty="0"/>
              <a:t>Третий уровень</a:t>
            </a:r>
          </a:p>
          <a:p>
            <a:pPr lvl="3"/>
            <a:r>
              <a:rPr lang="ru-RU" altLang="ru-RU" dirty="0"/>
              <a:t>Четвертый уровень</a:t>
            </a:r>
          </a:p>
          <a:p>
            <a:pPr lvl="4"/>
            <a:r>
              <a:rPr lang="ru-RU" altLang="ru-RU" dirty="0"/>
              <a:t>Пятый уровень</a:t>
            </a:r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369795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kern="1200">
          <a:solidFill>
            <a:srgbClr val="00447D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16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33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49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66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defRPr sz="1600" kern="1200">
          <a:solidFill>
            <a:schemeClr val="tx1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1pPr>
      <a:lvl2pPr marL="457167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defRPr sz="1400" kern="1200">
          <a:solidFill>
            <a:schemeClr val="tx1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2pPr>
      <a:lvl3pPr marL="914332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defRPr sz="1200" kern="1200">
          <a:solidFill>
            <a:schemeClr val="tx1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3pPr>
      <a:lvl4pPr marL="1371498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defRPr sz="1100" kern="1200">
          <a:solidFill>
            <a:schemeClr val="tx1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4pPr>
      <a:lvl5pPr marL="1828664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defRPr sz="1100" kern="1200">
          <a:solidFill>
            <a:schemeClr val="tx1"/>
          </a:solidFill>
          <a:latin typeface="Montserrat" pitchFamily="2" charset="0"/>
          <a:ea typeface="Verdana" panose="020B0604030504040204" pitchFamily="34" charset="0"/>
          <a:cs typeface="Verdana" panose="020B0604030504040204" pitchFamily="34" charset="0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7348">
          <p15:clr>
            <a:srgbClr val="F26B43"/>
          </p15:clr>
        </p15:guide>
        <p15:guide id="3" pos="332">
          <p15:clr>
            <a:srgbClr val="F26B43"/>
          </p15:clr>
        </p15:guide>
        <p15:guide id="4" orient="horz" pos="4020">
          <p15:clr>
            <a:srgbClr val="F26B43"/>
          </p15:clr>
        </p15:guide>
        <p15:guide id="5" pos="752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10"/>
          <p:cNvPicPr/>
          <p:nvPr/>
        </p:nvPicPr>
        <p:blipFill>
          <a:blip r:embed="rId14"/>
          <a:stretch/>
        </p:blipFill>
        <p:spPr>
          <a:xfrm>
            <a:off x="10790400" y="6481440"/>
            <a:ext cx="867360" cy="218880"/>
          </a:xfrm>
          <a:prstGeom prst="rect">
            <a:avLst/>
          </a:prstGeom>
          <a:ln>
            <a:noFill/>
          </a:ln>
        </p:spPr>
      </p:pic>
      <p:sp>
        <p:nvSpPr>
          <p:cNvPr id="10" name="Line 1"/>
          <p:cNvSpPr/>
          <p:nvPr/>
        </p:nvSpPr>
        <p:spPr>
          <a:xfrm>
            <a:off x="834720" y="6587520"/>
            <a:ext cx="9858720" cy="0"/>
          </a:xfrm>
          <a:prstGeom prst="line">
            <a:avLst/>
          </a:prstGeom>
          <a:ln>
            <a:solidFill>
              <a:srgbClr val="0186CE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" name="CustomShape 2" hidden="1"/>
          <p:cNvSpPr/>
          <p:nvPr/>
        </p:nvSpPr>
        <p:spPr>
          <a:xfrm>
            <a:off x="537600" y="6529807"/>
            <a:ext cx="460320" cy="12311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>
              <a:lnSpc>
                <a:spcPct val="100000"/>
              </a:lnSpc>
            </a:pPr>
            <a:fld id="{73BBFD69-0A19-4FA7-8CE0-0A69CD60EB2F}" type="slidenum">
              <a:rPr lang="ru-RU" sz="800" b="0" strike="noStrike" spc="-1">
                <a:solidFill>
                  <a:srgbClr val="0073CF"/>
                </a:solidFill>
                <a:latin typeface="Verdana"/>
                <a:ea typeface="DejaVu Sans"/>
              </a:rPr>
              <a:t>‹#›</a:t>
            </a:fld>
            <a:endParaRPr lang="ru-RU" sz="800" b="0" strike="noStrike" spc="-1">
              <a:latin typeface="Arial"/>
            </a:endParaRPr>
          </a:p>
        </p:txBody>
      </p:sp>
      <p:pic>
        <p:nvPicPr>
          <p:cNvPr id="3" name="Рисунок 16"/>
          <p:cNvPicPr/>
          <p:nvPr/>
        </p:nvPicPr>
        <p:blipFill>
          <a:blip r:embed="rId15"/>
          <a:srcRect l="31380" t="12451" b="12625"/>
          <a:stretch/>
        </p:blipFill>
        <p:spPr>
          <a:xfrm>
            <a:off x="7522560" y="6720"/>
            <a:ext cx="4668480" cy="6850080"/>
          </a:xfrm>
          <a:prstGeom prst="rect">
            <a:avLst/>
          </a:prstGeom>
          <a:ln>
            <a:noFill/>
          </a:ln>
        </p:spPr>
      </p:pic>
      <p:pic>
        <p:nvPicPr>
          <p:cNvPr id="4" name="Рисунок 12"/>
          <p:cNvPicPr/>
          <p:nvPr/>
        </p:nvPicPr>
        <p:blipFill>
          <a:blip r:embed="rId16"/>
          <a:stretch/>
        </p:blipFill>
        <p:spPr>
          <a:xfrm>
            <a:off x="537120" y="637920"/>
            <a:ext cx="5144640" cy="821760"/>
          </a:xfrm>
          <a:prstGeom prst="rect">
            <a:avLst/>
          </a:prstGeom>
          <a:ln>
            <a:noFill/>
          </a:ln>
        </p:spPr>
      </p:pic>
      <p:pic>
        <p:nvPicPr>
          <p:cNvPr id="5" name="Picture 1"/>
          <p:cNvPicPr/>
          <p:nvPr/>
        </p:nvPicPr>
        <p:blipFill>
          <a:blip r:embed="rId17"/>
          <a:stretch/>
        </p:blipFill>
        <p:spPr>
          <a:xfrm>
            <a:off x="7985280" y="850080"/>
            <a:ext cx="3743520" cy="395040"/>
          </a:xfrm>
          <a:prstGeom prst="rect">
            <a:avLst/>
          </a:prstGeom>
          <a:ln>
            <a:noFill/>
          </a:ln>
        </p:spPr>
      </p:pic>
      <p:sp>
        <p:nvSpPr>
          <p:cNvPr id="6" name="CustomShape 3"/>
          <p:cNvSpPr/>
          <p:nvPr/>
        </p:nvSpPr>
        <p:spPr>
          <a:xfrm>
            <a:off x="7406400" y="6720"/>
            <a:ext cx="115680" cy="685728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7" name="PlaceHolder 4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5867" b="0" strike="noStrike" spc="-1"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8" name="PlaceHolder 5"/>
          <p:cNvSpPr>
            <a:spLocks noGrp="1"/>
          </p:cNvSpPr>
          <p:nvPr>
            <p:ph type="body"/>
          </p:nvPr>
        </p:nvSpPr>
        <p:spPr>
          <a:xfrm>
            <a:off x="609600" y="1604640"/>
            <a:ext cx="1097232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4267" b="0" strike="noStrike" spc="-1">
                <a:latin typeface="Arial"/>
              </a:rPr>
              <a:t>Для правки структуры щёлкните мышью</a:t>
            </a:r>
          </a:p>
          <a:p>
            <a:pPr marL="1151942" lvl="1" indent="-431979">
              <a:spcBef>
                <a:spcPts val="1512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3733" b="0" strike="noStrike" spc="-1">
                <a:latin typeface="Arial"/>
              </a:rPr>
              <a:t>Второй уровень структуры</a:t>
            </a:r>
          </a:p>
          <a:p>
            <a:pPr marL="1727914" lvl="2" indent="-383981">
              <a:spcBef>
                <a:spcPts val="113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3200" b="0" strike="noStrike" spc="-1">
                <a:latin typeface="Arial"/>
              </a:rPr>
              <a:t>Третий уровень структуры</a:t>
            </a:r>
          </a:p>
          <a:p>
            <a:pPr marL="2303885" lvl="3" indent="-287986">
              <a:spcBef>
                <a:spcPts val="756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667" b="0" strike="noStrike" spc="-1">
                <a:latin typeface="Arial"/>
              </a:rPr>
              <a:t>Четвёртый уровень структуры</a:t>
            </a:r>
          </a:p>
          <a:p>
            <a:pPr marL="2879856" lvl="4" indent="-287986">
              <a:spcBef>
                <a:spcPts val="37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667" b="0" strike="noStrike" spc="-1">
                <a:latin typeface="Arial"/>
              </a:rPr>
              <a:t>Пятый уровень структуры</a:t>
            </a:r>
          </a:p>
          <a:p>
            <a:pPr marL="3455828" lvl="5" indent="-287986">
              <a:spcBef>
                <a:spcPts val="37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667" b="0" strike="noStrike" spc="-1">
                <a:latin typeface="Arial"/>
              </a:rPr>
              <a:t>Шестой уровень структуры</a:t>
            </a:r>
          </a:p>
          <a:p>
            <a:pPr marL="4031798" lvl="6" indent="-287986">
              <a:spcBef>
                <a:spcPts val="37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667" b="0" strike="noStrike" spc="-1">
                <a:latin typeface="Arial"/>
              </a:rPr>
              <a:t>Седьмой уровень структуры</a:t>
            </a:r>
          </a:p>
        </p:txBody>
      </p:sp>
    </p:spTree>
    <p:extLst>
      <p:ext uri="{BB962C8B-B14F-4D97-AF65-F5344CB8AC3E}">
        <p14:creationId xmlns:p14="http://schemas.microsoft.com/office/powerpoint/2010/main" val="16064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75986" indent="-431989" algn="l" defTabSz="1219140" rtl="0" eaLnBrk="1" latinLnBrk="0" hangingPunct="1">
        <a:lnSpc>
          <a:spcPct val="90000"/>
        </a:lnSpc>
        <a:spcBef>
          <a:spcPts val="1889"/>
        </a:spcBef>
        <a:buClr>
          <a:srgbClr val="000000"/>
        </a:buClr>
        <a:buSzPct val="45000"/>
        <a:buFont typeface="Wingdings" charset="2"/>
        <a:buChar char="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4071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</p:sldLayoutIdLst>
  <p:txStyles>
    <p:titleStyle>
      <a:lvl1pPr algn="l" defTabSz="448514" rtl="0" eaLnBrk="1" latinLnBrk="0" hangingPunct="1">
        <a:lnSpc>
          <a:spcPct val="90000"/>
        </a:lnSpc>
        <a:spcBef>
          <a:spcPct val="0"/>
        </a:spcBef>
        <a:buNone/>
        <a:defRPr sz="2157" kern="1200">
          <a:solidFill>
            <a:schemeClr val="tx1"/>
          </a:solidFill>
          <a:latin typeface="Montserrat" panose="00000500000000000000" pitchFamily="2" charset="-52"/>
          <a:ea typeface="+mj-ea"/>
          <a:cs typeface="+mj-cs"/>
        </a:defRPr>
      </a:lvl1pPr>
    </p:titleStyle>
    <p:bodyStyle>
      <a:lvl1pPr marL="112128" indent="-112128" algn="l" defTabSz="448514" rtl="0" eaLnBrk="1" latinLnBrk="0" hangingPunct="1">
        <a:lnSpc>
          <a:spcPct val="90000"/>
        </a:lnSpc>
        <a:spcBef>
          <a:spcPts val="491"/>
        </a:spcBef>
        <a:buFont typeface="Arial" panose="020B0604020202020204" pitchFamily="34" charset="0"/>
        <a:buChar char="•"/>
        <a:defRPr sz="1373" kern="1200">
          <a:solidFill>
            <a:schemeClr val="tx1"/>
          </a:solidFill>
          <a:latin typeface="Montserrat" panose="00000500000000000000" pitchFamily="2" charset="-52"/>
          <a:ea typeface="+mn-ea"/>
          <a:cs typeface="+mn-cs"/>
        </a:defRPr>
      </a:lvl1pPr>
      <a:lvl2pPr marL="336386" indent="-112128" algn="l" defTabSz="448514" rtl="0" eaLnBrk="1" latinLnBrk="0" hangingPunct="1">
        <a:lnSpc>
          <a:spcPct val="90000"/>
        </a:lnSpc>
        <a:spcBef>
          <a:spcPts val="245"/>
        </a:spcBef>
        <a:buFont typeface="Arial" panose="020B0604020202020204" pitchFamily="34" charset="0"/>
        <a:buChar char="•"/>
        <a:defRPr sz="1177" kern="1200">
          <a:solidFill>
            <a:schemeClr val="tx1"/>
          </a:solidFill>
          <a:latin typeface="Montserrat" panose="00000500000000000000" pitchFamily="2" charset="-52"/>
          <a:ea typeface="+mn-ea"/>
          <a:cs typeface="+mn-cs"/>
        </a:defRPr>
      </a:lvl2pPr>
      <a:lvl3pPr marL="560642" indent="-112128" algn="l" defTabSz="448514" rtl="0" eaLnBrk="1" latinLnBrk="0" hangingPunct="1">
        <a:lnSpc>
          <a:spcPct val="90000"/>
        </a:lnSpc>
        <a:spcBef>
          <a:spcPts val="245"/>
        </a:spcBef>
        <a:buFont typeface="Arial" panose="020B0604020202020204" pitchFamily="34" charset="0"/>
        <a:buChar char="•"/>
        <a:defRPr sz="981" kern="1200">
          <a:solidFill>
            <a:schemeClr val="tx1"/>
          </a:solidFill>
          <a:latin typeface="Montserrat" panose="00000500000000000000" pitchFamily="2" charset="-52"/>
          <a:ea typeface="+mn-ea"/>
          <a:cs typeface="+mn-cs"/>
        </a:defRPr>
      </a:lvl3pPr>
      <a:lvl4pPr marL="784899" indent="-112128" algn="l" defTabSz="448514" rtl="0" eaLnBrk="1" latinLnBrk="0" hangingPunct="1">
        <a:lnSpc>
          <a:spcPct val="90000"/>
        </a:lnSpc>
        <a:spcBef>
          <a:spcPts val="245"/>
        </a:spcBef>
        <a:buFont typeface="Arial" panose="020B0604020202020204" pitchFamily="34" charset="0"/>
        <a:buChar char="•"/>
        <a:defRPr sz="883" kern="1200">
          <a:solidFill>
            <a:schemeClr val="tx1"/>
          </a:solidFill>
          <a:latin typeface="Montserrat" panose="00000500000000000000" pitchFamily="2" charset="-52"/>
          <a:ea typeface="+mn-ea"/>
          <a:cs typeface="+mn-cs"/>
        </a:defRPr>
      </a:lvl4pPr>
      <a:lvl5pPr marL="1009157" indent="-112128" algn="l" defTabSz="448514" rtl="0" eaLnBrk="1" latinLnBrk="0" hangingPunct="1">
        <a:lnSpc>
          <a:spcPct val="90000"/>
        </a:lnSpc>
        <a:spcBef>
          <a:spcPts val="245"/>
        </a:spcBef>
        <a:buFont typeface="Arial" panose="020B0604020202020204" pitchFamily="34" charset="0"/>
        <a:buChar char="•"/>
        <a:defRPr sz="883" kern="1200">
          <a:solidFill>
            <a:schemeClr val="tx1"/>
          </a:solidFill>
          <a:latin typeface="Montserrat" panose="00000500000000000000" pitchFamily="2" charset="-52"/>
          <a:ea typeface="+mn-ea"/>
          <a:cs typeface="+mn-cs"/>
        </a:defRPr>
      </a:lvl5pPr>
      <a:lvl6pPr marL="1233413" indent="-112128" algn="l" defTabSz="448514" rtl="0" eaLnBrk="1" latinLnBrk="0" hangingPunct="1">
        <a:lnSpc>
          <a:spcPct val="90000"/>
        </a:lnSpc>
        <a:spcBef>
          <a:spcPts val="245"/>
        </a:spcBef>
        <a:buFont typeface="Arial" panose="020B0604020202020204" pitchFamily="34" charset="0"/>
        <a:buChar char="•"/>
        <a:defRPr sz="883" kern="1200">
          <a:solidFill>
            <a:schemeClr val="tx1"/>
          </a:solidFill>
          <a:latin typeface="+mn-lt"/>
          <a:ea typeface="+mn-ea"/>
          <a:cs typeface="+mn-cs"/>
        </a:defRPr>
      </a:lvl6pPr>
      <a:lvl7pPr marL="1457670" indent="-112128" algn="l" defTabSz="448514" rtl="0" eaLnBrk="1" latinLnBrk="0" hangingPunct="1">
        <a:lnSpc>
          <a:spcPct val="90000"/>
        </a:lnSpc>
        <a:spcBef>
          <a:spcPts val="245"/>
        </a:spcBef>
        <a:buFont typeface="Arial" panose="020B0604020202020204" pitchFamily="34" charset="0"/>
        <a:buChar char="•"/>
        <a:defRPr sz="883" kern="1200">
          <a:solidFill>
            <a:schemeClr val="tx1"/>
          </a:solidFill>
          <a:latin typeface="+mn-lt"/>
          <a:ea typeface="+mn-ea"/>
          <a:cs typeface="+mn-cs"/>
        </a:defRPr>
      </a:lvl7pPr>
      <a:lvl8pPr marL="1681927" indent="-112128" algn="l" defTabSz="448514" rtl="0" eaLnBrk="1" latinLnBrk="0" hangingPunct="1">
        <a:lnSpc>
          <a:spcPct val="90000"/>
        </a:lnSpc>
        <a:spcBef>
          <a:spcPts val="245"/>
        </a:spcBef>
        <a:buFont typeface="Arial" panose="020B0604020202020204" pitchFamily="34" charset="0"/>
        <a:buChar char="•"/>
        <a:defRPr sz="883" kern="1200">
          <a:solidFill>
            <a:schemeClr val="tx1"/>
          </a:solidFill>
          <a:latin typeface="+mn-lt"/>
          <a:ea typeface="+mn-ea"/>
          <a:cs typeface="+mn-cs"/>
        </a:defRPr>
      </a:lvl8pPr>
      <a:lvl9pPr marL="1906183" indent="-112128" algn="l" defTabSz="448514" rtl="0" eaLnBrk="1" latinLnBrk="0" hangingPunct="1">
        <a:lnSpc>
          <a:spcPct val="90000"/>
        </a:lnSpc>
        <a:spcBef>
          <a:spcPts val="245"/>
        </a:spcBef>
        <a:buFont typeface="Arial" panose="020B0604020202020204" pitchFamily="34" charset="0"/>
        <a:buChar char="•"/>
        <a:defRPr sz="8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48514" rtl="0" eaLnBrk="1" latinLnBrk="0" hangingPunct="1">
        <a:defRPr sz="883" kern="1200">
          <a:solidFill>
            <a:schemeClr val="tx1"/>
          </a:solidFill>
          <a:latin typeface="+mn-lt"/>
          <a:ea typeface="+mn-ea"/>
          <a:cs typeface="+mn-cs"/>
        </a:defRPr>
      </a:lvl1pPr>
      <a:lvl2pPr marL="224257" algn="l" defTabSz="448514" rtl="0" eaLnBrk="1" latinLnBrk="0" hangingPunct="1">
        <a:defRPr sz="883" kern="1200">
          <a:solidFill>
            <a:schemeClr val="tx1"/>
          </a:solidFill>
          <a:latin typeface="+mn-lt"/>
          <a:ea typeface="+mn-ea"/>
          <a:cs typeface="+mn-cs"/>
        </a:defRPr>
      </a:lvl2pPr>
      <a:lvl3pPr marL="448514" algn="l" defTabSz="448514" rtl="0" eaLnBrk="1" latinLnBrk="0" hangingPunct="1">
        <a:defRPr sz="883" kern="1200">
          <a:solidFill>
            <a:schemeClr val="tx1"/>
          </a:solidFill>
          <a:latin typeface="+mn-lt"/>
          <a:ea typeface="+mn-ea"/>
          <a:cs typeface="+mn-cs"/>
        </a:defRPr>
      </a:lvl3pPr>
      <a:lvl4pPr marL="672770" algn="l" defTabSz="448514" rtl="0" eaLnBrk="1" latinLnBrk="0" hangingPunct="1">
        <a:defRPr sz="883" kern="1200">
          <a:solidFill>
            <a:schemeClr val="tx1"/>
          </a:solidFill>
          <a:latin typeface="+mn-lt"/>
          <a:ea typeface="+mn-ea"/>
          <a:cs typeface="+mn-cs"/>
        </a:defRPr>
      </a:lvl4pPr>
      <a:lvl5pPr marL="897028" algn="l" defTabSz="448514" rtl="0" eaLnBrk="1" latinLnBrk="0" hangingPunct="1">
        <a:defRPr sz="883" kern="1200">
          <a:solidFill>
            <a:schemeClr val="tx1"/>
          </a:solidFill>
          <a:latin typeface="+mn-lt"/>
          <a:ea typeface="+mn-ea"/>
          <a:cs typeface="+mn-cs"/>
        </a:defRPr>
      </a:lvl5pPr>
      <a:lvl6pPr marL="1121285" algn="l" defTabSz="448514" rtl="0" eaLnBrk="1" latinLnBrk="0" hangingPunct="1">
        <a:defRPr sz="883" kern="1200">
          <a:solidFill>
            <a:schemeClr val="tx1"/>
          </a:solidFill>
          <a:latin typeface="+mn-lt"/>
          <a:ea typeface="+mn-ea"/>
          <a:cs typeface="+mn-cs"/>
        </a:defRPr>
      </a:lvl6pPr>
      <a:lvl7pPr marL="1345541" algn="l" defTabSz="448514" rtl="0" eaLnBrk="1" latinLnBrk="0" hangingPunct="1">
        <a:defRPr sz="883" kern="1200">
          <a:solidFill>
            <a:schemeClr val="tx1"/>
          </a:solidFill>
          <a:latin typeface="+mn-lt"/>
          <a:ea typeface="+mn-ea"/>
          <a:cs typeface="+mn-cs"/>
        </a:defRPr>
      </a:lvl7pPr>
      <a:lvl8pPr marL="1569799" algn="l" defTabSz="448514" rtl="0" eaLnBrk="1" latinLnBrk="0" hangingPunct="1">
        <a:defRPr sz="883" kern="1200">
          <a:solidFill>
            <a:schemeClr val="tx1"/>
          </a:solidFill>
          <a:latin typeface="+mn-lt"/>
          <a:ea typeface="+mn-ea"/>
          <a:cs typeface="+mn-cs"/>
        </a:defRPr>
      </a:lvl8pPr>
      <a:lvl9pPr marL="1794055" algn="l" defTabSz="448514" rtl="0" eaLnBrk="1" latinLnBrk="0" hangingPunct="1">
        <a:defRPr sz="8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42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1.png"/><Relationship Id="rId11" Type="http://schemas.openxmlformats.org/officeDocument/2006/relationships/image" Target="../media/image40.svg"/><Relationship Id="rId5" Type="http://schemas.openxmlformats.org/officeDocument/2006/relationships/image" Target="../media/image30.jpeg"/><Relationship Id="rId10" Type="http://schemas.openxmlformats.org/officeDocument/2006/relationships/image" Target="../media/image34.png"/><Relationship Id="rId4" Type="http://schemas.openxmlformats.org/officeDocument/2006/relationships/image" Target="../media/image29.png"/><Relationship Id="rId9" Type="http://schemas.openxmlformats.org/officeDocument/2006/relationships/image" Target="../media/image3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8.png"/><Relationship Id="rId18" Type="http://schemas.openxmlformats.org/officeDocument/2006/relationships/image" Target="../media/image50.svg"/><Relationship Id="rId3" Type="http://schemas.openxmlformats.org/officeDocument/2006/relationships/tags" Target="../tags/tag3.xml"/><Relationship Id="rId21" Type="http://schemas.openxmlformats.org/officeDocument/2006/relationships/image" Target="../media/image43.png"/><Relationship Id="rId7" Type="http://schemas.openxmlformats.org/officeDocument/2006/relationships/tags" Target="../tags/tag7.xml"/><Relationship Id="rId12" Type="http://schemas.openxmlformats.org/officeDocument/2006/relationships/image" Target="../media/image37.png"/><Relationship Id="rId17" Type="http://schemas.openxmlformats.org/officeDocument/2006/relationships/image" Target="../media/image41.png"/><Relationship Id="rId2" Type="http://schemas.openxmlformats.org/officeDocument/2006/relationships/tags" Target="../tags/tag2.xml"/><Relationship Id="rId16" Type="http://schemas.openxmlformats.org/officeDocument/2006/relationships/image" Target="../media/image48.svg"/><Relationship Id="rId20" Type="http://schemas.openxmlformats.org/officeDocument/2006/relationships/image" Target="../media/image52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5.xml"/><Relationship Id="rId15" Type="http://schemas.openxmlformats.org/officeDocument/2006/relationships/image" Target="../media/image40.png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42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9.png"/><Relationship Id="rId22" Type="http://schemas.openxmlformats.org/officeDocument/2006/relationships/image" Target="../media/image5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5.png"/><Relationship Id="rId5" Type="http://schemas.openxmlformats.org/officeDocument/2006/relationships/hyperlink" Target="https://&#1087;&#1088;&#1086;&#1080;&#1079;&#1074;&#1086;&#1076;&#1080;&#1090;&#1077;&#1083;&#1100;&#1085;&#1086;&#1089;&#1090;&#1100;.&#1088;&#1092;/" TargetMode="External"/><Relationship Id="rId4" Type="http://schemas.openxmlformats.org/officeDocument/2006/relationships/image" Target="../media/image6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1113A8C-9802-4E70-B082-69C33A354D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1964" y="1815975"/>
            <a:ext cx="2564760" cy="1711292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280C94C-A238-4FC9-95CA-0AE1694D8EE7}"/>
              </a:ext>
            </a:extLst>
          </p:cNvPr>
          <p:cNvSpPr/>
          <p:nvPr/>
        </p:nvSpPr>
        <p:spPr>
          <a:xfrm>
            <a:off x="4764101" y="3429000"/>
            <a:ext cx="2458891" cy="13863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prstClr val="white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301" name="CustomShape 1"/>
          <p:cNvSpPr/>
          <p:nvPr/>
        </p:nvSpPr>
        <p:spPr>
          <a:xfrm>
            <a:off x="417685" y="1911840"/>
            <a:ext cx="6830880" cy="27475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20000" tIns="60000" rIns="120000" bIns="60000" anchor="ctr">
            <a:noAutofit/>
          </a:bodyPr>
          <a:lstStyle/>
          <a:p>
            <a:pPr defTabSz="1219140">
              <a:lnSpc>
                <a:spcPct val="114000"/>
              </a:lnSpc>
            </a:pPr>
            <a:r>
              <a:rPr lang="ru-RU" sz="2400" b="1" cap="all" spc="-1" dirty="0">
                <a:solidFill>
                  <a:srgbClr val="171616"/>
                </a:solidFill>
                <a:latin typeface="Verdana"/>
                <a:ea typeface="Verdana"/>
                <a:cs typeface="DejaVu Sans"/>
              </a:rPr>
              <a:t>реализация проекта </a:t>
            </a:r>
            <a:r>
              <a:rPr sz="2400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/>
            </a:r>
            <a:br>
              <a:rPr sz="2400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</a:br>
            <a:r>
              <a:rPr lang="ru-RU" sz="2400" b="1" cap="all" spc="-1" dirty="0">
                <a:solidFill>
                  <a:srgbClr val="171616"/>
                </a:solidFill>
                <a:latin typeface="Verdana"/>
                <a:ea typeface="Verdana"/>
                <a:cs typeface="DejaVu Sans"/>
              </a:rPr>
              <a:t>Программы повышения </a:t>
            </a:r>
            <a:r>
              <a:rPr sz="2400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/>
            </a:r>
            <a:br>
              <a:rPr sz="2400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</a:br>
            <a:r>
              <a:rPr lang="ru-RU" sz="2400" b="1" cap="all" spc="-1" dirty="0">
                <a:solidFill>
                  <a:srgbClr val="171616"/>
                </a:solidFill>
                <a:latin typeface="Verdana"/>
                <a:ea typeface="Verdana"/>
                <a:cs typeface="DejaVu Sans"/>
              </a:rPr>
              <a:t>производительности труда в республике коми</a:t>
            </a:r>
            <a:r>
              <a:rPr sz="2400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/>
            </a:r>
            <a:br>
              <a:rPr sz="2400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</a:br>
            <a:r>
              <a:rPr sz="1400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  <a:t/>
            </a:r>
            <a:br>
              <a:rPr sz="1400" dirty="0">
                <a:solidFill>
                  <a:prstClr val="black"/>
                </a:solidFill>
                <a:latin typeface="Arial"/>
                <a:ea typeface="DejaVu Sans"/>
                <a:cs typeface="DejaVu Sans"/>
              </a:rPr>
            </a:br>
            <a:endParaRPr lang="ru-RU" sz="2400" spc="-1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302" name="CustomShape 2"/>
          <p:cNvSpPr/>
          <p:nvPr/>
        </p:nvSpPr>
        <p:spPr>
          <a:xfrm>
            <a:off x="92209" y="5349542"/>
            <a:ext cx="7413120" cy="9831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120000" tIns="60000" rIns="120000" bIns="60000">
            <a:spAutoFit/>
          </a:bodyPr>
          <a:lstStyle/>
          <a:p>
            <a:pPr defTabSz="1219140"/>
            <a:r>
              <a:rPr lang="ru-RU" sz="1867" b="1" cap="all" spc="-1" dirty="0">
                <a:solidFill>
                  <a:srgbClr val="0070C0"/>
                </a:solidFill>
                <a:latin typeface="Verdana"/>
                <a:ea typeface="Verdana"/>
                <a:cs typeface="DejaVu Sans"/>
              </a:rPr>
              <a:t>Федеральный проект -</a:t>
            </a:r>
            <a:r>
              <a:rPr sz="2133" b="1" dirty="0">
                <a:solidFill>
                  <a:srgbClr val="0070C0"/>
                </a:solidFill>
                <a:latin typeface="Arial"/>
                <a:ea typeface="DejaVu Sans"/>
                <a:cs typeface="DejaVu Sans"/>
              </a:rPr>
              <a:t/>
            </a:r>
            <a:br>
              <a:rPr sz="2133" b="1" dirty="0">
                <a:solidFill>
                  <a:srgbClr val="0070C0"/>
                </a:solidFill>
                <a:latin typeface="Arial"/>
                <a:ea typeface="DejaVu Sans"/>
                <a:cs typeface="DejaVu Sans"/>
              </a:rPr>
            </a:br>
            <a:r>
              <a:rPr lang="ru-RU" sz="1867" b="1" cap="all" spc="-1" dirty="0">
                <a:solidFill>
                  <a:srgbClr val="0070C0"/>
                </a:solidFill>
                <a:latin typeface="Verdana"/>
                <a:ea typeface="Verdana"/>
                <a:cs typeface="DejaVu Sans"/>
              </a:rPr>
              <a:t>«</a:t>
            </a:r>
            <a:r>
              <a:rPr lang="ru-RU" sz="1867" b="1" spc="-1" dirty="0">
                <a:solidFill>
                  <a:srgbClr val="0070C0"/>
                </a:solidFill>
                <a:latin typeface="Verdana"/>
                <a:ea typeface="Verdana"/>
                <a:cs typeface="DejaVu Sans"/>
              </a:rPr>
              <a:t>Адресная поддержки повышения производительности труда на предприятиях РФ»</a:t>
            </a:r>
            <a:endParaRPr lang="ru-RU" sz="1867" b="1" spc="-1" dirty="0">
              <a:solidFill>
                <a:srgbClr val="0070C0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303" name="Picture 4"/>
          <p:cNvPicPr/>
          <p:nvPr/>
        </p:nvPicPr>
        <p:blipFill>
          <a:blip r:embed="rId4"/>
          <a:srcRect l="53877"/>
          <a:stretch/>
        </p:blipFill>
        <p:spPr>
          <a:xfrm>
            <a:off x="9073114" y="4122165"/>
            <a:ext cx="1709313" cy="1261332"/>
          </a:xfrm>
          <a:prstGeom prst="rect">
            <a:avLst/>
          </a:prstGeom>
          <a:ln>
            <a:noFill/>
          </a:ln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C9963CC-B6AD-4CD3-A57E-41E4D023D8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2345" y="3527267"/>
            <a:ext cx="2464584" cy="1386328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7BDB02D-5684-46D9-9A66-27DDD546D3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71707" y="1815976"/>
            <a:ext cx="2483936" cy="146962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8F94267-B422-4DB5-9F8E-7B78BD85A5EF}"/>
              </a:ext>
            </a:extLst>
          </p:cNvPr>
          <p:cNvSpPr txBox="1"/>
          <p:nvPr/>
        </p:nvSpPr>
        <p:spPr>
          <a:xfrm>
            <a:off x="3877848" y="4477857"/>
            <a:ext cx="1226171" cy="18774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/>
            <a:r>
              <a:rPr lang="ru-RU" sz="11600" b="1" dirty="0">
                <a:solidFill>
                  <a:prstClr val="white">
                    <a:lumMod val="95000"/>
                  </a:prst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431E08-524B-4BF3-8E83-808E49293995}"/>
              </a:ext>
            </a:extLst>
          </p:cNvPr>
          <p:cNvSpPr txBox="1"/>
          <p:nvPr/>
        </p:nvSpPr>
        <p:spPr>
          <a:xfrm>
            <a:off x="-87095" y="2850270"/>
            <a:ext cx="2109923" cy="158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ru-RU" sz="9700" b="1" dirty="0">
                <a:solidFill>
                  <a:prstClr val="white">
                    <a:lumMod val="95000"/>
                  </a:prst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«</a:t>
            </a:r>
          </a:p>
        </p:txBody>
      </p:sp>
      <p:sp>
        <p:nvSpPr>
          <p:cNvPr id="26" name="Прямоугольник">
            <a:extLst>
              <a:ext uri="{FF2B5EF4-FFF2-40B4-BE49-F238E27FC236}">
                <a16:creationId xmlns:a16="http://schemas.microsoft.com/office/drawing/2014/main" id="{6634BA8C-0ABD-49B0-96E9-A74A99F055DC}"/>
              </a:ext>
            </a:extLst>
          </p:cNvPr>
          <p:cNvSpPr/>
          <p:nvPr/>
        </p:nvSpPr>
        <p:spPr>
          <a:xfrm>
            <a:off x="4956751" y="-1"/>
            <a:ext cx="7235251" cy="6858001"/>
          </a:xfrm>
          <a:prstGeom prst="rect">
            <a:avLst/>
          </a:prstGeom>
          <a:solidFill>
            <a:srgbClr val="D5D5D5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defTabSz="914377"/>
            <a:endParaRPr sz="9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27" name="Главная  мысль слайда">
            <a:extLst>
              <a:ext uri="{FF2B5EF4-FFF2-40B4-BE49-F238E27FC236}">
                <a16:creationId xmlns:a16="http://schemas.microsoft.com/office/drawing/2014/main" id="{88625389-FEAC-4BB0-9EF9-31FF374DC7B0}"/>
              </a:ext>
            </a:extLst>
          </p:cNvPr>
          <p:cNvSpPr txBox="1">
            <a:spLocks/>
          </p:cNvSpPr>
          <p:nvPr/>
        </p:nvSpPr>
        <p:spPr>
          <a:xfrm>
            <a:off x="371152" y="169686"/>
            <a:ext cx="4465009" cy="2352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rmAutofit/>
          </a:bodyPr>
          <a:lstStyle>
            <a:lvl1pPr marL="0" marR="0" indent="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4572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9144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13716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18288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22860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27432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32004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36576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defTabSz="2438278">
              <a:lnSpc>
                <a:spcPct val="100000"/>
              </a:lnSpc>
              <a:defRPr sz="1800"/>
            </a:pPr>
            <a:r>
              <a:rPr lang="ru-RU" sz="2400" spc="-169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Times New Roman"/>
              </a:rPr>
              <a:t>Национальная цель: </a:t>
            </a:r>
            <a:br>
              <a:rPr lang="ru-RU" sz="2400" spc="-169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Times New Roman"/>
              </a:rPr>
            </a:br>
            <a:r>
              <a:rPr lang="ru-RU" sz="2400" spc="-169" dirty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Times New Roman"/>
              </a:rPr>
              <a:t>«Достойный, эффективный труд и успешное предпринимательство»</a:t>
            </a:r>
          </a:p>
        </p:txBody>
      </p:sp>
      <p:sp>
        <p:nvSpPr>
          <p:cNvPr id="29" name="Короткий текст, раскрывающий основную суть слайда (необязательно)">
            <a:extLst>
              <a:ext uri="{FF2B5EF4-FFF2-40B4-BE49-F238E27FC236}">
                <a16:creationId xmlns:a16="http://schemas.microsoft.com/office/drawing/2014/main" id="{FD55F666-FE31-4877-94A3-2FC8CC8CB3AE}"/>
              </a:ext>
            </a:extLst>
          </p:cNvPr>
          <p:cNvSpPr txBox="1"/>
          <p:nvPr/>
        </p:nvSpPr>
        <p:spPr>
          <a:xfrm>
            <a:off x="499313" y="3484121"/>
            <a:ext cx="3948787" cy="6052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>
                <a:solidFill>
                  <a:schemeClr val="tx1"/>
                </a:solidFill>
                <a:latin typeface="Gilroy" panose="00000500000000000000" pitchFamily="2" charset="-52"/>
              </a:defRPr>
            </a:lvl1pPr>
          </a:lstStyle>
          <a:p>
            <a:pPr algn="just" defTabSz="914377"/>
            <a:r>
              <a:rPr lang="ru-RU" sz="12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еспечить темп роста валового внутреннего продукта страны выше среднемирового при сохранении макроэкономической стабильности.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CE775B40-F7B5-493D-8FD0-44943C0BB75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3" r="15046" b="148"/>
          <a:stretch/>
        </p:blipFill>
        <p:spPr>
          <a:xfrm>
            <a:off x="4956751" y="-1"/>
            <a:ext cx="7235251" cy="685800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2A3BC77-8AE4-46EE-9B97-53C969D9B718}"/>
              </a:ext>
            </a:extLst>
          </p:cNvPr>
          <p:cNvSpPr txBox="1"/>
          <p:nvPr/>
        </p:nvSpPr>
        <p:spPr>
          <a:xfrm>
            <a:off x="499314" y="4376318"/>
            <a:ext cx="3871029" cy="6052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just" defTabSz="914377"/>
            <a:r>
              <a:rPr lang="ru-RU" sz="12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еспечить темп устойчивого роста доходов населения и уровня пенсионного обеспечения </a:t>
            </a:r>
            <a:r>
              <a:rPr lang="en-US" sz="12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 ниже инфляции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578806-AD64-4AA6-8B64-B46195BECF10}"/>
              </a:ext>
            </a:extLst>
          </p:cNvPr>
          <p:cNvSpPr txBox="1"/>
          <p:nvPr/>
        </p:nvSpPr>
        <p:spPr>
          <a:xfrm>
            <a:off x="499314" y="5268516"/>
            <a:ext cx="3871029" cy="7899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just" defTabSz="914377"/>
            <a:r>
              <a:rPr lang="ru-RU" sz="12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хватить проектами по повышению производительности труда не менее 40% (12 тыс.) средних и крупных предприятий базовых несырьевых </a:t>
            </a:r>
            <a:r>
              <a:rPr lang="ru-RU" sz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раслей экономики.</a:t>
            </a:r>
            <a:endParaRPr lang="ru-RU" sz="1200" dirty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045399-EE7F-4B37-B374-99E7CDB86004}"/>
              </a:ext>
            </a:extLst>
          </p:cNvPr>
          <p:cNvSpPr txBox="1"/>
          <p:nvPr/>
        </p:nvSpPr>
        <p:spPr>
          <a:xfrm>
            <a:off x="322776" y="2694171"/>
            <a:ext cx="45133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/>
            <a:r>
              <a:rPr lang="ru-RU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зидент России Владимир Путин поручил к 2030 году</a:t>
            </a:r>
            <a:r>
              <a:rPr lang="en-US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  <a:endParaRPr lang="ru-RU" dirty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284158-C01D-4400-A356-A95DBFFC7FE2}"/>
              </a:ext>
            </a:extLst>
          </p:cNvPr>
          <p:cNvSpPr txBox="1"/>
          <p:nvPr/>
        </p:nvSpPr>
        <p:spPr>
          <a:xfrm>
            <a:off x="5104019" y="206528"/>
            <a:ext cx="7057927" cy="666977"/>
          </a:xfrm>
          <a:prstGeom prst="rect">
            <a:avLst/>
          </a:prstGeom>
          <a:solidFill>
            <a:schemeClr val="accent1">
              <a:alpha val="65000"/>
            </a:schemeClr>
          </a:solidFill>
        </p:spPr>
        <p:txBody>
          <a:bodyPr wrap="square">
            <a:spAutoFit/>
          </a:bodyPr>
          <a:lstStyle/>
          <a:p>
            <a:pPr defTabSz="914377"/>
            <a:r>
              <a:rPr lang="ru-RU" sz="1867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/>
                <a:sym typeface="Times New Roman"/>
              </a:rPr>
              <a:t>Услуги Федерального центра компетенций в рамках федерального проекта – бесплатны.</a:t>
            </a:r>
            <a:endParaRPr lang="ru-RU" sz="1867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288862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93637-4628-EA47-AF75-8881D102A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843" y="189976"/>
            <a:ext cx="11101231" cy="581385"/>
          </a:xfrm>
        </p:spPr>
        <p:txBody>
          <a:bodyPr anchor="t"/>
          <a:lstStyle/>
          <a:p>
            <a:r>
              <a:rPr lang="ru-RU" sz="2667" b="1" dirty="0"/>
              <a:t>Федеральный проект «Производительность труда»</a:t>
            </a:r>
            <a:endParaRPr lang="en-RU" sz="2667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EBD97A-E6AF-45D5-BDBA-5739A5114F47}"/>
              </a:ext>
            </a:extLst>
          </p:cNvPr>
          <p:cNvSpPr txBox="1"/>
          <p:nvPr/>
        </p:nvSpPr>
        <p:spPr>
          <a:xfrm>
            <a:off x="560773" y="4875880"/>
            <a:ext cx="3114523" cy="1549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89" indent="-228589" defTabSz="6095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67" dirty="0">
                <a:solidFill>
                  <a:srgbClr val="515254"/>
                </a:solidFill>
                <a:latin typeface="Verdana"/>
              </a:rPr>
              <a:t>Создание условий для роста культуры непрерывных улучшений</a:t>
            </a:r>
          </a:p>
          <a:p>
            <a:pPr marL="228589" indent="-228589" defTabSz="6095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67" dirty="0">
                <a:solidFill>
                  <a:srgbClr val="515254"/>
                </a:solidFill>
                <a:latin typeface="Verdana"/>
              </a:rPr>
              <a:t>Работа с предприятиями</a:t>
            </a:r>
          </a:p>
          <a:p>
            <a:pPr marL="228589" indent="-228589" defTabSz="6095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67" dirty="0">
                <a:solidFill>
                  <a:srgbClr val="515254"/>
                </a:solidFill>
                <a:latin typeface="Verdana"/>
              </a:rPr>
              <a:t>Обучение сотрудников</a:t>
            </a:r>
          </a:p>
          <a:p>
            <a:pPr defTabSz="6095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133" dirty="0">
              <a:solidFill>
                <a:srgbClr val="171616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B0D330F-8026-4A3B-A499-B1FB16C3152F}"/>
              </a:ext>
            </a:extLst>
          </p:cNvPr>
          <p:cNvSpPr txBox="1"/>
          <p:nvPr/>
        </p:nvSpPr>
        <p:spPr>
          <a:xfrm>
            <a:off x="4211704" y="4862664"/>
            <a:ext cx="4419600" cy="1221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89" indent="-228589" defTabSz="6095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67" dirty="0">
                <a:solidFill>
                  <a:srgbClr val="515254"/>
                </a:solidFill>
                <a:latin typeface="Verdana"/>
              </a:rPr>
              <a:t>Обучение и переподготовка сотрудников по стандартам </a:t>
            </a:r>
            <a:r>
              <a:rPr lang="en-US" sz="1467" dirty="0">
                <a:solidFill>
                  <a:srgbClr val="515254"/>
                </a:solidFill>
                <a:latin typeface="Verdana"/>
              </a:rPr>
              <a:t>WorldSkills</a:t>
            </a:r>
            <a:endParaRPr lang="ru-RU" sz="1467" dirty="0">
              <a:solidFill>
                <a:srgbClr val="515254"/>
              </a:solidFill>
              <a:latin typeface="Verdana"/>
            </a:endParaRPr>
          </a:p>
          <a:p>
            <a:pPr marL="228589" indent="-228589" defTabSz="6095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67" dirty="0">
                <a:solidFill>
                  <a:srgbClr val="515254"/>
                </a:solidFill>
                <a:latin typeface="Verdana"/>
              </a:rPr>
              <a:t>Облегчение доступа к финансированию</a:t>
            </a:r>
          </a:p>
          <a:p>
            <a:pPr marL="228589" indent="-228589" defTabSz="6095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67" dirty="0">
                <a:solidFill>
                  <a:srgbClr val="515254"/>
                </a:solidFill>
                <a:latin typeface="Verdana"/>
              </a:rPr>
              <a:t>Обучение руководителей по программе «Лидеры производительности»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8BD9625-8691-4314-855A-1E3D0D0B3773}"/>
              </a:ext>
            </a:extLst>
          </p:cNvPr>
          <p:cNvSpPr txBox="1"/>
          <p:nvPr/>
        </p:nvSpPr>
        <p:spPr>
          <a:xfrm>
            <a:off x="8882354" y="4859189"/>
            <a:ext cx="2539036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89" indent="-228589" defTabSz="6095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67" dirty="0">
                <a:solidFill>
                  <a:srgbClr val="515254"/>
                </a:solidFill>
                <a:latin typeface="Verdana"/>
              </a:rPr>
              <a:t>Формирование единой экосистемы производительности</a:t>
            </a:r>
          </a:p>
        </p:txBody>
      </p:sp>
      <p:sp>
        <p:nvSpPr>
          <p:cNvPr id="24" name="Oval 40">
            <a:extLst>
              <a:ext uri="{FF2B5EF4-FFF2-40B4-BE49-F238E27FC236}">
                <a16:creationId xmlns:a16="http://schemas.microsoft.com/office/drawing/2014/main" id="{0BD7182D-2CF8-4115-AD85-59FD7E22E40A}"/>
              </a:ext>
            </a:extLst>
          </p:cNvPr>
          <p:cNvSpPr/>
          <p:nvPr/>
        </p:nvSpPr>
        <p:spPr>
          <a:xfrm>
            <a:off x="770613" y="1620003"/>
            <a:ext cx="10650777" cy="266644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gradFill>
              <a:gsLst>
                <a:gs pos="0">
                  <a:srgbClr val="808285">
                    <a:alpha val="0"/>
                  </a:srgbClr>
                </a:gs>
                <a:gs pos="99000">
                  <a:srgbClr val="808285">
                    <a:alpha val="36000"/>
                  </a:srgbClr>
                </a:gs>
              </a:gsLst>
              <a:lin ang="0" scaled="0"/>
            </a:gra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RU" sz="240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465A0F03-6040-4541-9444-1E39D9E8B13B}"/>
              </a:ext>
            </a:extLst>
          </p:cNvPr>
          <p:cNvGrpSpPr/>
          <p:nvPr/>
        </p:nvGrpSpPr>
        <p:grpSpPr>
          <a:xfrm>
            <a:off x="560776" y="1699243"/>
            <a:ext cx="8945331" cy="2421883"/>
            <a:chOff x="420580" y="1192302"/>
            <a:chExt cx="6844055" cy="1898542"/>
          </a:xfrm>
        </p:grpSpPr>
        <p:sp>
          <p:nvSpPr>
            <p:cNvPr id="26" name="Oval 45">
              <a:extLst>
                <a:ext uri="{FF2B5EF4-FFF2-40B4-BE49-F238E27FC236}">
                  <a16:creationId xmlns:a16="http://schemas.microsoft.com/office/drawing/2014/main" id="{6F5E5218-FB0F-40AD-8DF8-05407E355546}"/>
                </a:ext>
              </a:extLst>
            </p:cNvPr>
            <p:cNvSpPr/>
            <p:nvPr/>
          </p:nvSpPr>
          <p:spPr>
            <a:xfrm>
              <a:off x="420580" y="1192302"/>
              <a:ext cx="6844055" cy="1898542"/>
            </a:xfrm>
            <a:prstGeom prst="ellipse">
              <a:avLst/>
            </a:prstGeom>
            <a:solidFill>
              <a:srgbClr val="FAFAFA"/>
            </a:solidFill>
            <a:ln w="9525">
              <a:gradFill>
                <a:gsLst>
                  <a:gs pos="0">
                    <a:srgbClr val="1E86C8">
                      <a:alpha val="0"/>
                    </a:srgbClr>
                  </a:gs>
                  <a:gs pos="100000">
                    <a:srgbClr val="1E86C8"/>
                  </a:gs>
                </a:gsLst>
                <a:lin ang="0" scaled="0"/>
              </a:gradFill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RU" sz="2400">
                <a:solidFill>
                  <a:srgbClr val="FFFFFF"/>
                </a:solidFill>
                <a:latin typeface="Verdana"/>
              </a:endParaRPr>
            </a:p>
          </p:txBody>
        </p:sp>
        <p:pic>
          <p:nvPicPr>
            <p:cNvPr id="33" name="Picture 52">
              <a:extLst>
                <a:ext uri="{FF2B5EF4-FFF2-40B4-BE49-F238E27FC236}">
                  <a16:creationId xmlns:a16="http://schemas.microsoft.com/office/drawing/2014/main" id="{77C5F220-09B5-4325-B909-795D5016BA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4" t="-2"/>
            <a:stretch/>
          </p:blipFill>
          <p:spPr>
            <a:xfrm>
              <a:off x="4722076" y="1794011"/>
              <a:ext cx="1784301" cy="767029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C8E3396-0F93-4DB5-AB3B-01FFD4FDC5CC}"/>
                </a:ext>
              </a:extLst>
            </p:cNvPr>
            <p:cNvSpPr txBox="1"/>
            <p:nvPr/>
          </p:nvSpPr>
          <p:spPr>
            <a:xfrm>
              <a:off x="5095227" y="2353266"/>
              <a:ext cx="1437044" cy="2011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67" dirty="0">
                  <a:solidFill>
                    <a:srgbClr val="80828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истемные меры</a:t>
              </a:r>
              <a:endParaRPr lang="en-RU" sz="1067" dirty="0">
                <a:solidFill>
                  <a:srgbClr val="80828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7BA5C3AD-FD65-4F58-BED9-7949E597F2C5}"/>
              </a:ext>
            </a:extLst>
          </p:cNvPr>
          <p:cNvGrpSpPr/>
          <p:nvPr/>
        </p:nvGrpSpPr>
        <p:grpSpPr>
          <a:xfrm>
            <a:off x="827397" y="2008591"/>
            <a:ext cx="5036087" cy="1766808"/>
            <a:chOff x="577959" y="1479020"/>
            <a:chExt cx="3777065" cy="1325106"/>
          </a:xfrm>
        </p:grpSpPr>
        <p:sp>
          <p:nvSpPr>
            <p:cNvPr id="28" name="Oval 47">
              <a:extLst>
                <a:ext uri="{FF2B5EF4-FFF2-40B4-BE49-F238E27FC236}">
                  <a16:creationId xmlns:a16="http://schemas.microsoft.com/office/drawing/2014/main" id="{0E2A7D57-A5DE-48EE-BD37-A4384359EB1F}"/>
                </a:ext>
              </a:extLst>
            </p:cNvPr>
            <p:cNvSpPr/>
            <p:nvPr/>
          </p:nvSpPr>
          <p:spPr>
            <a:xfrm>
              <a:off x="577959" y="1479020"/>
              <a:ext cx="3777065" cy="1325106"/>
            </a:xfrm>
            <a:prstGeom prst="ellipse">
              <a:avLst/>
            </a:prstGeom>
            <a:solidFill>
              <a:srgbClr val="FAFAFA"/>
            </a:solidFill>
            <a:ln w="9525">
              <a:gradFill>
                <a:gsLst>
                  <a:gs pos="0">
                    <a:srgbClr val="00C2F3">
                      <a:alpha val="0"/>
                    </a:srgbClr>
                  </a:gs>
                  <a:gs pos="100000">
                    <a:srgbClr val="00C2F3"/>
                  </a:gs>
                </a:gsLst>
                <a:lin ang="0" scaled="0"/>
              </a:gradFill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RU" sz="2400">
                <a:solidFill>
                  <a:srgbClr val="FFFFFF"/>
                </a:solidFill>
                <a:latin typeface="Verdana"/>
              </a:endParaRPr>
            </a:p>
          </p:txBody>
        </p:sp>
        <p:pic>
          <p:nvPicPr>
            <p:cNvPr id="32" name="Picture 6">
              <a:extLst>
                <a:ext uri="{FF2B5EF4-FFF2-40B4-BE49-F238E27FC236}">
                  <a16:creationId xmlns:a16="http://schemas.microsoft.com/office/drawing/2014/main" id="{6E7F69FC-75E6-4A4F-BFBA-3EBA905878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6075" y="1977422"/>
              <a:ext cx="934835" cy="229283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07B382D-571D-4480-B4B4-B128B81FEA82}"/>
                </a:ext>
              </a:extLst>
            </p:cNvPr>
            <p:cNvSpPr txBox="1"/>
            <p:nvPr/>
          </p:nvSpPr>
          <p:spPr>
            <a:xfrm>
              <a:off x="2687233" y="2280923"/>
              <a:ext cx="1362368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67" dirty="0">
                  <a:solidFill>
                    <a:srgbClr val="80828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Адресная поддержка</a:t>
              </a:r>
              <a:endParaRPr lang="en-RU" sz="1067" dirty="0">
                <a:solidFill>
                  <a:srgbClr val="80828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cxnSp>
        <p:nvCxnSpPr>
          <p:cNvPr id="39" name="Прямая соединительная линия 39">
            <a:extLst>
              <a:ext uri="{FF2B5EF4-FFF2-40B4-BE49-F238E27FC236}">
                <a16:creationId xmlns:a16="http://schemas.microsoft.com/office/drawing/2014/main" id="{6FE5F06C-3F41-4EF8-994D-DF1F5F00D2B8}"/>
              </a:ext>
            </a:extLst>
          </p:cNvPr>
          <p:cNvCxnSpPr>
            <a:cxnSpLocks/>
          </p:cNvCxnSpPr>
          <p:nvPr/>
        </p:nvCxnSpPr>
        <p:spPr>
          <a:xfrm flipV="1">
            <a:off x="2678752" y="3750524"/>
            <a:ext cx="0" cy="1117443"/>
          </a:xfrm>
          <a:prstGeom prst="line">
            <a:avLst/>
          </a:prstGeom>
          <a:ln w="12700" cmpd="dbl">
            <a:solidFill>
              <a:srgbClr val="A6A6A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39">
            <a:extLst>
              <a:ext uri="{FF2B5EF4-FFF2-40B4-BE49-F238E27FC236}">
                <a16:creationId xmlns:a16="http://schemas.microsoft.com/office/drawing/2014/main" id="{38607C90-C097-4730-A596-6F3570746C45}"/>
              </a:ext>
            </a:extLst>
          </p:cNvPr>
          <p:cNvCxnSpPr>
            <a:cxnSpLocks/>
          </p:cNvCxnSpPr>
          <p:nvPr/>
        </p:nvCxnSpPr>
        <p:spPr>
          <a:xfrm flipV="1">
            <a:off x="6388628" y="4097694"/>
            <a:ext cx="0" cy="770273"/>
          </a:xfrm>
          <a:prstGeom prst="line">
            <a:avLst/>
          </a:prstGeom>
          <a:ln w="12700" cmpd="dbl">
            <a:solidFill>
              <a:srgbClr val="A6A6A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39">
            <a:extLst>
              <a:ext uri="{FF2B5EF4-FFF2-40B4-BE49-F238E27FC236}">
                <a16:creationId xmlns:a16="http://schemas.microsoft.com/office/drawing/2014/main" id="{E18F2CA8-C001-4289-B32D-613A008A2437}"/>
              </a:ext>
            </a:extLst>
          </p:cNvPr>
          <p:cNvCxnSpPr>
            <a:cxnSpLocks/>
          </p:cNvCxnSpPr>
          <p:nvPr/>
        </p:nvCxnSpPr>
        <p:spPr>
          <a:xfrm flipV="1">
            <a:off x="9762380" y="3873422"/>
            <a:ext cx="0" cy="826041"/>
          </a:xfrm>
          <a:prstGeom prst="line">
            <a:avLst/>
          </a:prstGeom>
          <a:ln w="12700" cmpd="dbl">
            <a:solidFill>
              <a:srgbClr val="A6A6A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61448B51-29A3-47C1-9AAC-9AF0D902C91E}"/>
              </a:ext>
            </a:extLst>
          </p:cNvPr>
          <p:cNvGrpSpPr/>
          <p:nvPr/>
        </p:nvGrpSpPr>
        <p:grpSpPr>
          <a:xfrm>
            <a:off x="770615" y="2189004"/>
            <a:ext cx="2928316" cy="1332853"/>
            <a:chOff x="577960" y="1641753"/>
            <a:chExt cx="2196237" cy="999640"/>
          </a:xfrm>
        </p:grpSpPr>
        <p:sp>
          <p:nvSpPr>
            <p:cNvPr id="29" name="Oval 48">
              <a:extLst>
                <a:ext uri="{FF2B5EF4-FFF2-40B4-BE49-F238E27FC236}">
                  <a16:creationId xmlns:a16="http://schemas.microsoft.com/office/drawing/2014/main" id="{68BF2217-5FD8-4C26-95F3-705ED8273220}"/>
                </a:ext>
              </a:extLst>
            </p:cNvPr>
            <p:cNvSpPr/>
            <p:nvPr/>
          </p:nvSpPr>
          <p:spPr>
            <a:xfrm>
              <a:off x="577960" y="1641753"/>
              <a:ext cx="2196237" cy="999640"/>
            </a:xfrm>
            <a:prstGeom prst="ellipse">
              <a:avLst/>
            </a:prstGeom>
            <a:solidFill>
              <a:schemeClr val="bg1"/>
            </a:solidFill>
            <a:ln w="9525">
              <a:gradFill>
                <a:gsLst>
                  <a:gs pos="0">
                    <a:srgbClr val="A6A6A6">
                      <a:alpha val="13000"/>
                    </a:srgbClr>
                  </a:gs>
                  <a:gs pos="100000">
                    <a:srgbClr val="A6A6A6">
                      <a:alpha val="62000"/>
                    </a:srgbClr>
                  </a:gs>
                </a:gsLst>
                <a:lin ang="0" scaled="0"/>
              </a:gradFill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RU" sz="2400">
                <a:solidFill>
                  <a:srgbClr val="FFFFFF"/>
                </a:solidFill>
                <a:latin typeface="Verdana"/>
              </a:endParaRPr>
            </a:p>
          </p:txBody>
        </p:sp>
        <p:pic>
          <p:nvPicPr>
            <p:cNvPr id="30" name="Рисунок 3">
              <a:extLst>
                <a:ext uri="{FF2B5EF4-FFF2-40B4-BE49-F238E27FC236}">
                  <a16:creationId xmlns:a16="http://schemas.microsoft.com/office/drawing/2014/main" id="{B8472686-9FB4-4A72-AF47-7BF65484AB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11288" y="1757089"/>
              <a:ext cx="554476" cy="466512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B5551C4-ABF6-4E15-B62F-CFC68E630DB7}"/>
                </a:ext>
              </a:extLst>
            </p:cNvPr>
            <p:cNvSpPr txBox="1"/>
            <p:nvPr/>
          </p:nvSpPr>
          <p:spPr>
            <a:xfrm>
              <a:off x="1111171" y="2316420"/>
              <a:ext cx="1471961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defTabSz="457189">
                <a:defRPr sz="800">
                  <a:solidFill>
                    <a:srgbClr val="80828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defTabSz="60957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67" dirty="0"/>
                <a:t> </a:t>
              </a:r>
              <a:r>
                <a:rPr lang="ru-RU" sz="1067" dirty="0"/>
                <a:t>Предприятие</a:t>
              </a:r>
              <a:endParaRPr lang="en-RU" sz="1067" dirty="0"/>
            </a:p>
          </p:txBody>
        </p:sp>
      </p:grp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8E253B7-2A16-4D14-9542-A5C1691E648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32734" y="2618274"/>
            <a:ext cx="1788724" cy="570188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837E6C0-0261-42EA-866F-06AF52E236E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2860" t="56604" r="39816" b="31470"/>
          <a:stretch/>
        </p:blipFill>
        <p:spPr>
          <a:xfrm>
            <a:off x="1667204" y="2294026"/>
            <a:ext cx="849363" cy="742063"/>
          </a:xfrm>
          <a:prstGeom prst="rect">
            <a:avLst/>
          </a:prstGeom>
        </p:spPr>
      </p:pic>
      <p:sp>
        <p:nvSpPr>
          <p:cNvPr id="34" name="TextBox 1">
            <a:extLst>
              <a:ext uri="{FF2B5EF4-FFF2-40B4-BE49-F238E27FC236}">
                <a16:creationId xmlns:a16="http://schemas.microsoft.com/office/drawing/2014/main" id="{C2D2EFB5-418D-4474-A9A9-E205597DBA23}"/>
              </a:ext>
            </a:extLst>
          </p:cNvPr>
          <p:cNvSpPr txBox="1"/>
          <p:nvPr/>
        </p:nvSpPr>
        <p:spPr>
          <a:xfrm>
            <a:off x="613207" y="981105"/>
            <a:ext cx="1115855" cy="420506"/>
          </a:xfrm>
          <a:prstGeom prst="rect">
            <a:avLst/>
          </a:prstGeom>
          <a:noFill/>
        </p:spPr>
        <p:txBody>
          <a:bodyPr wrap="square" lIns="91381" tIns="45691" rIns="91381" bIns="45691" rtlCol="0" anchor="t">
            <a:spAutoFit/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309">
              <a:defRPr/>
            </a:pPr>
            <a:r>
              <a:rPr lang="ru-RU" sz="2133" dirty="0">
                <a:solidFill>
                  <a:srgbClr val="0070C0"/>
                </a:solidFill>
                <a:latin typeface="Verdana"/>
              </a:rPr>
              <a:t>+5%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CE3EC7B-FC29-444C-828D-3E7DB6F83684}"/>
              </a:ext>
            </a:extLst>
          </p:cNvPr>
          <p:cNvSpPr/>
          <p:nvPr/>
        </p:nvSpPr>
        <p:spPr>
          <a:xfrm>
            <a:off x="827397" y="1434035"/>
            <a:ext cx="2033596" cy="584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defTabSz="609570"/>
            <a:r>
              <a:rPr lang="ru-RU" sz="1067" dirty="0">
                <a:solidFill>
                  <a:srgbClr val="515254"/>
                </a:solidFill>
                <a:latin typeface="Verdana"/>
              </a:rPr>
              <a:t>ежегодный рост производительности труда</a:t>
            </a:r>
          </a:p>
        </p:txBody>
      </p:sp>
      <p:pic>
        <p:nvPicPr>
          <p:cNvPr id="37" name="Рисунок 36" descr="Диаграмма с подъемом">
            <a:extLst>
              <a:ext uri="{FF2B5EF4-FFF2-40B4-BE49-F238E27FC236}">
                <a16:creationId xmlns:a16="http://schemas.microsoft.com/office/drawing/2014/main" id="{247A8D9F-2830-4B82-BF3B-669A9933CD87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541662" y="955785"/>
            <a:ext cx="547876" cy="527713"/>
          </a:xfrm>
          <a:prstGeom prst="rect">
            <a:avLst/>
          </a:prstGeom>
        </p:spPr>
      </p:pic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A04FEB0F-806C-41BD-A818-DEDDB75CEE21}"/>
              </a:ext>
            </a:extLst>
          </p:cNvPr>
          <p:cNvSpPr/>
          <p:nvPr/>
        </p:nvSpPr>
        <p:spPr>
          <a:xfrm>
            <a:off x="4253321" y="1344559"/>
            <a:ext cx="334227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defTabSz="609570"/>
            <a:r>
              <a:rPr lang="ru-RU" sz="1067" dirty="0">
                <a:solidFill>
                  <a:srgbClr val="515254"/>
                </a:solidFill>
                <a:latin typeface="Verdana"/>
              </a:rPr>
              <a:t>средних и крупных предприятий БНО</a:t>
            </a:r>
          </a:p>
        </p:txBody>
      </p:sp>
      <p:sp>
        <p:nvSpPr>
          <p:cNvPr id="44" name="TextBox 6">
            <a:extLst>
              <a:ext uri="{FF2B5EF4-FFF2-40B4-BE49-F238E27FC236}">
                <a16:creationId xmlns:a16="http://schemas.microsoft.com/office/drawing/2014/main" id="{C5798FB0-0380-4088-BFF3-145651BE0064}"/>
              </a:ext>
            </a:extLst>
          </p:cNvPr>
          <p:cNvSpPr txBox="1"/>
          <p:nvPr/>
        </p:nvSpPr>
        <p:spPr>
          <a:xfrm>
            <a:off x="4534107" y="989690"/>
            <a:ext cx="2880000" cy="420506"/>
          </a:xfrm>
          <a:prstGeom prst="rect">
            <a:avLst/>
          </a:prstGeom>
          <a:noFill/>
        </p:spPr>
        <p:txBody>
          <a:bodyPr wrap="square" lIns="91381" tIns="45691" rIns="91381" bIns="45691" rtlCol="0" anchor="t">
            <a:spAutoFit/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309">
              <a:defRPr/>
            </a:pPr>
            <a:r>
              <a:rPr lang="en-US" sz="2133" dirty="0">
                <a:solidFill>
                  <a:srgbClr val="0070C0"/>
                </a:solidFill>
                <a:latin typeface="Verdana"/>
              </a:rPr>
              <a:t>&gt;1</a:t>
            </a:r>
            <a:r>
              <a:rPr lang="ru-RU" sz="2133" dirty="0">
                <a:solidFill>
                  <a:srgbClr val="0070C0"/>
                </a:solidFill>
                <a:latin typeface="Verdana"/>
              </a:rPr>
              <a:t>2</a:t>
            </a:r>
            <a:r>
              <a:rPr lang="en-US" sz="2133" dirty="0">
                <a:solidFill>
                  <a:srgbClr val="0070C0"/>
                </a:solidFill>
                <a:latin typeface="Verdana"/>
              </a:rPr>
              <a:t> 00</a:t>
            </a:r>
            <a:r>
              <a:rPr lang="ru-RU" sz="2133" dirty="0">
                <a:solidFill>
                  <a:srgbClr val="0070C0"/>
                </a:solidFill>
                <a:latin typeface="Verdana"/>
              </a:rPr>
              <a:t>0</a:t>
            </a:r>
            <a:endParaRPr lang="ru-RU" sz="1067" dirty="0">
              <a:solidFill>
                <a:srgbClr val="171616"/>
              </a:solidFill>
            </a:endParaRPr>
          </a:p>
        </p:txBody>
      </p:sp>
      <p:pic>
        <p:nvPicPr>
          <p:cNvPr id="45" name="Рисунок 44" descr="Фабрика">
            <a:extLst>
              <a:ext uri="{FF2B5EF4-FFF2-40B4-BE49-F238E27FC236}">
                <a16:creationId xmlns:a16="http://schemas.microsoft.com/office/drawing/2014/main" id="{0CF8DA23-37E8-4393-9235-7F45695C81CF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754774" y="884316"/>
            <a:ext cx="522849" cy="522849"/>
          </a:xfrm>
          <a:prstGeom prst="rect">
            <a:avLst/>
          </a:prstGeom>
        </p:spPr>
      </p:pic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97604CAA-FFD6-4DC9-9A6F-18CCFBA492D5}"/>
              </a:ext>
            </a:extLst>
          </p:cNvPr>
          <p:cNvSpPr/>
          <p:nvPr/>
        </p:nvSpPr>
        <p:spPr>
          <a:xfrm>
            <a:off x="8809426" y="1380556"/>
            <a:ext cx="317181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defTabSz="609570"/>
            <a:r>
              <a:rPr lang="ru-RU" sz="1067" dirty="0">
                <a:solidFill>
                  <a:srgbClr val="515254"/>
                </a:solidFill>
                <a:latin typeface="Verdana"/>
              </a:rPr>
              <a:t>Лучшие практики</a:t>
            </a:r>
            <a:r>
              <a:rPr lang="en-US" sz="1067" dirty="0">
                <a:solidFill>
                  <a:srgbClr val="515254"/>
                </a:solidFill>
                <a:latin typeface="Verdana"/>
              </a:rPr>
              <a:t>,</a:t>
            </a:r>
            <a:r>
              <a:rPr lang="ru-RU" sz="1067" dirty="0">
                <a:solidFill>
                  <a:srgbClr val="515254"/>
                </a:solidFill>
                <a:latin typeface="Verdana"/>
              </a:rPr>
              <a:t> обучающие курсы, отраслевые исследования</a:t>
            </a:r>
            <a:endParaRPr lang="en-US" sz="1067" dirty="0">
              <a:solidFill>
                <a:srgbClr val="515254"/>
              </a:solidFill>
              <a:latin typeface="Verdana"/>
            </a:endParaRPr>
          </a:p>
        </p:txBody>
      </p:sp>
      <p:pic>
        <p:nvPicPr>
          <p:cNvPr id="48" name="Рисунок 47" descr="Интернет">
            <a:extLst>
              <a:ext uri="{FF2B5EF4-FFF2-40B4-BE49-F238E27FC236}">
                <a16:creationId xmlns:a16="http://schemas.microsoft.com/office/drawing/2014/main" id="{D6A51DAF-A003-4759-A9DF-A89FBC92595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8987927" y="898877"/>
            <a:ext cx="655939" cy="655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743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трелка: пятиугольник 19">
            <a:extLst>
              <a:ext uri="{FF2B5EF4-FFF2-40B4-BE49-F238E27FC236}">
                <a16:creationId xmlns:a16="http://schemas.microsoft.com/office/drawing/2014/main" id="{7432ED2F-A63E-4834-9B44-6F5763F9686F}"/>
              </a:ext>
            </a:extLst>
          </p:cNvPr>
          <p:cNvSpPr/>
          <p:nvPr/>
        </p:nvSpPr>
        <p:spPr>
          <a:xfrm>
            <a:off x="9690981" y="5771113"/>
            <a:ext cx="2160027" cy="758444"/>
          </a:xfrm>
          <a:prstGeom prst="homePlate">
            <a:avLst>
              <a:gd name="adj" fmla="val 36604"/>
            </a:avLst>
          </a:prstGeom>
          <a:solidFill>
            <a:schemeClr val="bg1"/>
          </a:solidFill>
          <a:ln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ru-RU" sz="1067" b="1" dirty="0">
                <a:solidFill>
                  <a:srgbClr val="1E86C8"/>
                </a:solidFill>
                <a:latin typeface="Verdana"/>
                <a:ea typeface="Verdana"/>
              </a:rPr>
              <a:t>Самостоятельная работа</a:t>
            </a:r>
          </a:p>
        </p:txBody>
      </p:sp>
      <p:sp>
        <p:nvSpPr>
          <p:cNvPr id="17" name="Стрелка: пятиугольник 16">
            <a:extLst>
              <a:ext uri="{FF2B5EF4-FFF2-40B4-BE49-F238E27FC236}">
                <a16:creationId xmlns:a16="http://schemas.microsoft.com/office/drawing/2014/main" id="{5CA5A9B1-2638-4702-AA85-018CE2FF1A18}"/>
              </a:ext>
            </a:extLst>
          </p:cNvPr>
          <p:cNvSpPr/>
          <p:nvPr/>
        </p:nvSpPr>
        <p:spPr>
          <a:xfrm>
            <a:off x="6611613" y="5771113"/>
            <a:ext cx="3240000" cy="758444"/>
          </a:xfrm>
          <a:prstGeom prst="homePlate">
            <a:avLst>
              <a:gd name="adj" fmla="val 36604"/>
            </a:avLst>
          </a:prstGeom>
          <a:solidFill>
            <a:schemeClr val="bg1"/>
          </a:solidFill>
          <a:ln>
            <a:solidFill>
              <a:srgbClr val="CA35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ru-RU" sz="1067" b="1" dirty="0">
                <a:solidFill>
                  <a:srgbClr val="1E86C8"/>
                </a:solidFill>
                <a:latin typeface="Verdana"/>
                <a:ea typeface="Verdana"/>
              </a:rPr>
              <a:t>Присутствие консультанта ФЦК на проекте:</a:t>
            </a:r>
          </a:p>
          <a:p>
            <a:pPr algn="ctr" defTabSz="914377"/>
            <a:r>
              <a:rPr lang="ru-RU" sz="1067" b="1" dirty="0">
                <a:solidFill>
                  <a:srgbClr val="1E86C8"/>
                </a:solidFill>
                <a:latin typeface="Verdana"/>
                <a:ea typeface="Verdana"/>
              </a:rPr>
              <a:t>1 день в неделю</a:t>
            </a:r>
          </a:p>
        </p:txBody>
      </p:sp>
      <p:sp>
        <p:nvSpPr>
          <p:cNvPr id="18" name="Стрелка: пятиугольник 17">
            <a:extLst>
              <a:ext uri="{FF2B5EF4-FFF2-40B4-BE49-F238E27FC236}">
                <a16:creationId xmlns:a16="http://schemas.microsoft.com/office/drawing/2014/main" id="{186D8646-FA39-43B7-A823-44DE3EECD4CC}"/>
              </a:ext>
            </a:extLst>
          </p:cNvPr>
          <p:cNvSpPr/>
          <p:nvPr/>
        </p:nvSpPr>
        <p:spPr>
          <a:xfrm>
            <a:off x="3476303" y="5771113"/>
            <a:ext cx="3240000" cy="758444"/>
          </a:xfrm>
          <a:prstGeom prst="homePlate">
            <a:avLst>
              <a:gd name="adj" fmla="val 23878"/>
            </a:avLst>
          </a:prstGeom>
          <a:solidFill>
            <a:schemeClr val="bg1"/>
          </a:solidFill>
          <a:ln>
            <a:solidFill>
              <a:srgbClr val="CA35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ru-RU" sz="1067" b="1" dirty="0">
                <a:solidFill>
                  <a:srgbClr val="1E86C8"/>
                </a:solidFill>
                <a:latin typeface="Verdana"/>
                <a:ea typeface="Verdana"/>
              </a:rPr>
              <a:t>Присутствие консультанта ФЦК на проекте:</a:t>
            </a:r>
          </a:p>
          <a:p>
            <a:pPr algn="ctr" defTabSz="914377"/>
            <a:r>
              <a:rPr lang="ru-RU" sz="1067" b="1" dirty="0">
                <a:solidFill>
                  <a:srgbClr val="1E86C8"/>
                </a:solidFill>
                <a:latin typeface="Verdana"/>
                <a:ea typeface="Verdana"/>
              </a:rPr>
              <a:t>4 дня в неделю</a:t>
            </a:r>
          </a:p>
        </p:txBody>
      </p:sp>
      <p:sp>
        <p:nvSpPr>
          <p:cNvPr id="46" name="Заголовок 1">
            <a:extLst>
              <a:ext uri="{FF2B5EF4-FFF2-40B4-BE49-F238E27FC236}">
                <a16:creationId xmlns:a16="http://schemas.microsoft.com/office/drawing/2014/main" id="{FF3770E4-4C65-4586-8035-82448435B6C7}"/>
              </a:ext>
            </a:extLst>
          </p:cNvPr>
          <p:cNvSpPr txBox="1">
            <a:spLocks/>
          </p:cNvSpPr>
          <p:nvPr/>
        </p:nvSpPr>
        <p:spPr bwMode="auto">
          <a:xfrm>
            <a:off x="340991" y="372610"/>
            <a:ext cx="11888724" cy="461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>
            <a:defPPr>
              <a:defRPr lang="ru-RU"/>
            </a:defPPr>
            <a:lvl1pPr defTabSz="1219139" hangingPunct="0">
              <a:defRPr sz="2800" b="1" kern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1219108"/>
            <a:r>
              <a:rPr lang="ru-RU" sz="2667" dirty="0"/>
              <a:t>Реализация проекта рассчитана на 3 года </a:t>
            </a:r>
          </a:p>
        </p:txBody>
      </p:sp>
      <p:sp>
        <p:nvSpPr>
          <p:cNvPr id="55" name="Стрелка: шеврон 54">
            <a:extLst>
              <a:ext uri="{FF2B5EF4-FFF2-40B4-BE49-F238E27FC236}">
                <a16:creationId xmlns:a16="http://schemas.microsoft.com/office/drawing/2014/main" id="{1D6D3ADC-2C0C-4EB3-BCD4-2D8C37024E1B}"/>
              </a:ext>
            </a:extLst>
          </p:cNvPr>
          <p:cNvSpPr/>
          <p:nvPr/>
        </p:nvSpPr>
        <p:spPr>
          <a:xfrm>
            <a:off x="9995251" y="1844797"/>
            <a:ext cx="518160" cy="759600"/>
          </a:xfrm>
          <a:prstGeom prst="chevron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56" name="Стрелка: шеврон 55">
            <a:extLst>
              <a:ext uri="{FF2B5EF4-FFF2-40B4-BE49-F238E27FC236}">
                <a16:creationId xmlns:a16="http://schemas.microsoft.com/office/drawing/2014/main" id="{AEE74BD5-16B4-4518-AC54-D57435EC9C8B}"/>
              </a:ext>
            </a:extLst>
          </p:cNvPr>
          <p:cNvSpPr/>
          <p:nvPr/>
        </p:nvSpPr>
        <p:spPr>
          <a:xfrm>
            <a:off x="10310211" y="1844797"/>
            <a:ext cx="518160" cy="759600"/>
          </a:xfrm>
          <a:prstGeom prst="chevron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57" name="Стрелка: шеврон 56">
            <a:extLst>
              <a:ext uri="{FF2B5EF4-FFF2-40B4-BE49-F238E27FC236}">
                <a16:creationId xmlns:a16="http://schemas.microsoft.com/office/drawing/2014/main" id="{F3654442-DF7E-4B9C-AA52-616A1F9FEE7C}"/>
              </a:ext>
            </a:extLst>
          </p:cNvPr>
          <p:cNvSpPr/>
          <p:nvPr/>
        </p:nvSpPr>
        <p:spPr>
          <a:xfrm>
            <a:off x="10625169" y="1844797"/>
            <a:ext cx="518160" cy="759600"/>
          </a:xfrm>
          <a:prstGeom prst="chevron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58" name="Стрелка: шеврон 57">
            <a:extLst>
              <a:ext uri="{FF2B5EF4-FFF2-40B4-BE49-F238E27FC236}">
                <a16:creationId xmlns:a16="http://schemas.microsoft.com/office/drawing/2014/main" id="{CB804A57-8270-4960-A6AC-86059C6AAC15}"/>
              </a:ext>
            </a:extLst>
          </p:cNvPr>
          <p:cNvSpPr/>
          <p:nvPr/>
        </p:nvSpPr>
        <p:spPr>
          <a:xfrm>
            <a:off x="10940129" y="1844797"/>
            <a:ext cx="518160" cy="759600"/>
          </a:xfrm>
          <a:prstGeom prst="chevron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59" name="Стрелка: шеврон 58">
            <a:extLst>
              <a:ext uri="{FF2B5EF4-FFF2-40B4-BE49-F238E27FC236}">
                <a16:creationId xmlns:a16="http://schemas.microsoft.com/office/drawing/2014/main" id="{9F47F45C-69CE-4BC1-82C0-3D4A79CA0EFF}"/>
              </a:ext>
            </a:extLst>
          </p:cNvPr>
          <p:cNvSpPr/>
          <p:nvPr/>
        </p:nvSpPr>
        <p:spPr>
          <a:xfrm>
            <a:off x="11265251" y="1844797"/>
            <a:ext cx="518160" cy="759600"/>
          </a:xfrm>
          <a:prstGeom prst="chevron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srgbClr val="171616"/>
              </a:solidFill>
              <a:latin typeface="Verdana"/>
            </a:endParaRPr>
          </a:p>
        </p:txBody>
      </p:sp>
      <p:sp>
        <p:nvSpPr>
          <p:cNvPr id="60" name="Стрелка: шеврон 59">
            <a:extLst>
              <a:ext uri="{FF2B5EF4-FFF2-40B4-BE49-F238E27FC236}">
                <a16:creationId xmlns:a16="http://schemas.microsoft.com/office/drawing/2014/main" id="{ACBCE72B-2C50-4DA7-BCEE-9296E69C4B9A}"/>
              </a:ext>
            </a:extLst>
          </p:cNvPr>
          <p:cNvSpPr/>
          <p:nvPr/>
        </p:nvSpPr>
        <p:spPr>
          <a:xfrm>
            <a:off x="9690981" y="1844797"/>
            <a:ext cx="518160" cy="759600"/>
          </a:xfrm>
          <a:prstGeom prst="chevron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srgbClr val="171616"/>
              </a:solidFill>
              <a:latin typeface="Verdana"/>
            </a:endParaRP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40212443-8E97-494E-918E-BEE6AED466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" b="46635"/>
          <a:stretch/>
        </p:blipFill>
        <p:spPr>
          <a:xfrm>
            <a:off x="3417618" y="1199249"/>
            <a:ext cx="980295" cy="933353"/>
          </a:xfrm>
          <a:prstGeom prst="rect">
            <a:avLst/>
          </a:prstGeom>
        </p:spPr>
      </p:pic>
      <p:sp>
        <p:nvSpPr>
          <p:cNvPr id="62" name="Стрелка: пятиугольник 61">
            <a:extLst>
              <a:ext uri="{FF2B5EF4-FFF2-40B4-BE49-F238E27FC236}">
                <a16:creationId xmlns:a16="http://schemas.microsoft.com/office/drawing/2014/main" id="{3C681205-7F3A-4D18-A91E-FF6AD02FC79F}"/>
              </a:ext>
            </a:extLst>
          </p:cNvPr>
          <p:cNvSpPr/>
          <p:nvPr/>
        </p:nvSpPr>
        <p:spPr>
          <a:xfrm>
            <a:off x="6611613" y="1853535"/>
            <a:ext cx="3240000" cy="758444"/>
          </a:xfrm>
          <a:prstGeom prst="homePlate">
            <a:avLst>
              <a:gd name="adj" fmla="val 36604"/>
            </a:avLst>
          </a:prstGeom>
          <a:solidFill>
            <a:srgbClr val="1E86C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ru-RU" sz="1333" b="1" dirty="0">
                <a:solidFill>
                  <a:srgbClr val="FFFFFF"/>
                </a:solidFill>
                <a:latin typeface="Verdana"/>
                <a:ea typeface="Verdana"/>
              </a:rPr>
              <a:t>3. ВНЕДРЕНИЕ УЛУЧШЕНИЙ</a:t>
            </a:r>
          </a:p>
          <a:p>
            <a:pPr algn="ctr" defTabSz="914377">
              <a:defRPr/>
            </a:pPr>
            <a:r>
              <a:rPr lang="en-US" sz="1333" b="1" dirty="0">
                <a:solidFill>
                  <a:srgbClr val="FFFFFF"/>
                </a:solidFill>
                <a:latin typeface="Verdana"/>
                <a:ea typeface="Verdana"/>
              </a:rPr>
              <a:t>3 </a:t>
            </a:r>
            <a:r>
              <a:rPr lang="ru-RU" sz="1333" b="1" dirty="0">
                <a:solidFill>
                  <a:srgbClr val="FFFFFF"/>
                </a:solidFill>
                <a:latin typeface="Verdana"/>
                <a:ea typeface="Verdana"/>
              </a:rPr>
              <a:t>месяца</a:t>
            </a:r>
          </a:p>
        </p:txBody>
      </p:sp>
      <p:sp>
        <p:nvSpPr>
          <p:cNvPr id="63" name="Стрелка: пятиугольник 62">
            <a:extLst>
              <a:ext uri="{FF2B5EF4-FFF2-40B4-BE49-F238E27FC236}">
                <a16:creationId xmlns:a16="http://schemas.microsoft.com/office/drawing/2014/main" id="{895A5683-565C-462A-BD3D-E7AFFAD53BA3}"/>
              </a:ext>
            </a:extLst>
          </p:cNvPr>
          <p:cNvSpPr/>
          <p:nvPr/>
        </p:nvSpPr>
        <p:spPr>
          <a:xfrm>
            <a:off x="3476303" y="1853535"/>
            <a:ext cx="3240000" cy="758444"/>
          </a:xfrm>
          <a:prstGeom prst="homePlate">
            <a:avLst>
              <a:gd name="adj" fmla="val 23878"/>
            </a:avLst>
          </a:prstGeom>
          <a:solidFill>
            <a:srgbClr val="1E86C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ru-RU" sz="1333" b="1" dirty="0">
                <a:solidFill>
                  <a:srgbClr val="FFFFFF"/>
                </a:solidFill>
                <a:latin typeface="Verdana"/>
                <a:ea typeface="Verdana"/>
              </a:rPr>
              <a:t>2. ДИАГНОСТИКА</a:t>
            </a:r>
            <a:endParaRPr lang="en-US" sz="1333" b="1" dirty="0">
              <a:solidFill>
                <a:srgbClr val="FFFFFF"/>
              </a:solidFill>
              <a:latin typeface="Verdana"/>
              <a:ea typeface="Verdana"/>
            </a:endParaRPr>
          </a:p>
          <a:p>
            <a:pPr algn="ctr" defTabSz="914377">
              <a:defRPr/>
            </a:pPr>
            <a:r>
              <a:rPr lang="en-US" sz="1333" b="1" dirty="0">
                <a:solidFill>
                  <a:srgbClr val="FFFFFF"/>
                </a:solidFill>
                <a:latin typeface="Verdana"/>
                <a:ea typeface="Verdana"/>
              </a:rPr>
              <a:t>3 </a:t>
            </a:r>
            <a:r>
              <a:rPr lang="ru-RU" sz="1333" b="1" dirty="0">
                <a:solidFill>
                  <a:srgbClr val="FFFFFF"/>
                </a:solidFill>
                <a:latin typeface="Verdana"/>
                <a:ea typeface="Verdana"/>
              </a:rPr>
              <a:t>месяца</a:t>
            </a:r>
          </a:p>
        </p:txBody>
      </p:sp>
      <p:sp>
        <p:nvSpPr>
          <p:cNvPr id="64" name="Стрелка: пятиугольник 63">
            <a:extLst>
              <a:ext uri="{FF2B5EF4-FFF2-40B4-BE49-F238E27FC236}">
                <a16:creationId xmlns:a16="http://schemas.microsoft.com/office/drawing/2014/main" id="{D199CF75-07D1-446F-AEC9-434B03CE3472}"/>
              </a:ext>
            </a:extLst>
          </p:cNvPr>
          <p:cNvSpPr/>
          <p:nvPr/>
        </p:nvSpPr>
        <p:spPr>
          <a:xfrm>
            <a:off x="340991" y="1853535"/>
            <a:ext cx="3240000" cy="758444"/>
          </a:xfrm>
          <a:prstGeom prst="homePlate">
            <a:avLst>
              <a:gd name="adj" fmla="val 23627"/>
            </a:avLst>
          </a:prstGeom>
          <a:solidFill>
            <a:srgbClr val="1E86C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04792" indent="-304792" algn="ctr" defTabSz="914377">
              <a:buFontTx/>
              <a:buAutoNum type="arabicPeriod"/>
              <a:defRPr/>
            </a:pPr>
            <a:r>
              <a:rPr lang="ru-RU" sz="1333" b="1" dirty="0">
                <a:solidFill>
                  <a:srgbClr val="FFFFFF"/>
                </a:solidFill>
                <a:latin typeface="Verdana"/>
                <a:ea typeface="Verdana"/>
              </a:rPr>
              <a:t>ПОДГОТОВКА</a:t>
            </a:r>
          </a:p>
          <a:p>
            <a:pPr algn="ctr" defTabSz="914377">
              <a:defRPr/>
            </a:pPr>
            <a:r>
              <a:rPr lang="ru-RU" sz="1333" b="1" dirty="0">
                <a:solidFill>
                  <a:srgbClr val="FFFFFF"/>
                </a:solidFill>
                <a:latin typeface="Verdana"/>
                <a:ea typeface="Verdana"/>
              </a:rPr>
              <a:t>1 месяц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04CA098-E3CA-4F48-B2AA-2DAA5E07F512}"/>
              </a:ext>
            </a:extLst>
          </p:cNvPr>
          <p:cNvSpPr txBox="1"/>
          <p:nvPr/>
        </p:nvSpPr>
        <p:spPr>
          <a:xfrm>
            <a:off x="340991" y="2880197"/>
            <a:ext cx="292148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71446" indent="-171446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228589" indent="-228589" defTabSz="914377"/>
            <a:r>
              <a:rPr lang="ru-RU" sz="1400" dirty="0"/>
              <a:t>подписание соглашений</a:t>
            </a:r>
            <a:r>
              <a:rPr lang="en-US" sz="1400" dirty="0"/>
              <a:t>;</a:t>
            </a:r>
            <a:endParaRPr lang="ru-RU" sz="1400" dirty="0"/>
          </a:p>
          <a:p>
            <a:pPr marL="228589" indent="-228589" defTabSz="914377"/>
            <a:r>
              <a:rPr lang="ru-RU" sz="1400" dirty="0"/>
              <a:t>создание и вовлечение команды (рабочей</a:t>
            </a:r>
            <a:r>
              <a:rPr lang="en-US" sz="1400" dirty="0"/>
              <a:t> </a:t>
            </a:r>
            <a:r>
              <a:rPr lang="ru-RU" sz="1400" dirty="0"/>
              <a:t>группы);</a:t>
            </a:r>
          </a:p>
          <a:p>
            <a:pPr marL="228589" indent="-228589" defTabSz="914377"/>
            <a:r>
              <a:rPr lang="ru-RU" sz="1400" dirty="0"/>
              <a:t>выбор пилотного потока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74BD967-399B-4218-8DEB-DE8EEF842519}"/>
              </a:ext>
            </a:extLst>
          </p:cNvPr>
          <p:cNvSpPr txBox="1"/>
          <p:nvPr/>
        </p:nvSpPr>
        <p:spPr>
          <a:xfrm>
            <a:off x="3580991" y="2870391"/>
            <a:ext cx="292148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71446" indent="-171446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228589" indent="-228589" defTabSz="914377"/>
            <a:r>
              <a:rPr lang="ru-RU" sz="1400" dirty="0"/>
              <a:t>обучение рабочей группы</a:t>
            </a:r>
          </a:p>
          <a:p>
            <a:pPr marL="228589" indent="-228589" defTabSz="914377"/>
            <a:r>
              <a:rPr lang="ru-RU" sz="1400" dirty="0"/>
              <a:t>комплексный анализ деятельности </a:t>
            </a:r>
          </a:p>
          <a:p>
            <a:pPr marL="228589" indent="-228589" defTabSz="914377"/>
            <a:r>
              <a:rPr lang="ru-RU" sz="1400" dirty="0"/>
              <a:t>картирование потока</a:t>
            </a:r>
          </a:p>
          <a:p>
            <a:pPr marL="228589" indent="-228589" defTabSz="914377"/>
            <a:r>
              <a:rPr lang="ru-RU" sz="1400" dirty="0"/>
              <a:t>подготовка внутреннего тренера</a:t>
            </a:r>
          </a:p>
          <a:p>
            <a:pPr marL="228589" indent="-228589" defTabSz="914377"/>
            <a:r>
              <a:rPr lang="ru-RU" sz="1400" dirty="0"/>
              <a:t>разработка плана мероприятий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EFD1956-7FDE-4AE3-8812-B97AD45F37A7}"/>
              </a:ext>
            </a:extLst>
          </p:cNvPr>
          <p:cNvSpPr txBox="1"/>
          <p:nvPr/>
        </p:nvSpPr>
        <p:spPr>
          <a:xfrm>
            <a:off x="6611614" y="2851619"/>
            <a:ext cx="2761375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71446" indent="-171446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228589" indent="-228589" defTabSz="914377"/>
            <a:r>
              <a:rPr lang="ru-RU" sz="1400" dirty="0"/>
              <a:t>реализация плана мероприятий</a:t>
            </a:r>
          </a:p>
          <a:p>
            <a:pPr marL="228589" indent="-228589" defTabSz="914377"/>
            <a:r>
              <a:rPr lang="ru-RU" sz="1400" dirty="0"/>
              <a:t>оценка достигнутых эффектов</a:t>
            </a:r>
          </a:p>
          <a:p>
            <a:pPr marL="228589" indent="-228589" defTabSz="914377"/>
            <a:r>
              <a:rPr lang="ru-RU" sz="1400" dirty="0"/>
              <a:t>создание системы подачи предложений по улучшениям</a:t>
            </a:r>
          </a:p>
          <a:p>
            <a:pPr marL="228589" indent="-228589" defTabSz="914377"/>
            <a:r>
              <a:rPr lang="ru-RU" sz="1400" dirty="0"/>
              <a:t>создание проектного офиса по дальнейшему тиражированию проектов</a:t>
            </a:r>
          </a:p>
          <a:p>
            <a:pPr marL="228589" indent="-228589" defTabSz="914377"/>
            <a:r>
              <a:rPr lang="ru-RU" sz="1400" dirty="0"/>
              <a:t>подготовка плана тиражирования</a:t>
            </a:r>
          </a:p>
          <a:p>
            <a:pPr marL="228589" indent="-228589" defTabSz="914377"/>
            <a:endParaRPr lang="ru-RU" sz="14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C2A7A37-629F-4493-94C0-12D33D42E6F0}"/>
              </a:ext>
            </a:extLst>
          </p:cNvPr>
          <p:cNvSpPr txBox="1"/>
          <p:nvPr/>
        </p:nvSpPr>
        <p:spPr>
          <a:xfrm>
            <a:off x="9372989" y="2851619"/>
            <a:ext cx="247801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ru-RU" sz="1400" b="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иражирование и совершенствование</a:t>
            </a:r>
          </a:p>
          <a:p>
            <a:pPr marL="228594" indent="-228594" defTabSz="914377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едприятие </a:t>
            </a:r>
            <a:r>
              <a:rPr lang="ru-RU" sz="1400" b="1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амостоятельно</a:t>
            </a:r>
            <a:r>
              <a:rPr lang="ru-RU" sz="1400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или с привлечением ФЦК на коммерческой основе реализует план тиражирования проектов.</a:t>
            </a:r>
          </a:p>
        </p:txBody>
      </p:sp>
      <p:sp>
        <p:nvSpPr>
          <p:cNvPr id="19" name="Стрелка: пятиугольник 18">
            <a:extLst>
              <a:ext uri="{FF2B5EF4-FFF2-40B4-BE49-F238E27FC236}">
                <a16:creationId xmlns:a16="http://schemas.microsoft.com/office/drawing/2014/main" id="{E434D9D7-ABD4-46BB-87B0-16EC7163F82C}"/>
              </a:ext>
            </a:extLst>
          </p:cNvPr>
          <p:cNvSpPr/>
          <p:nvPr/>
        </p:nvSpPr>
        <p:spPr>
          <a:xfrm>
            <a:off x="340991" y="5771113"/>
            <a:ext cx="3240000" cy="758444"/>
          </a:xfrm>
          <a:prstGeom prst="homePlate">
            <a:avLst>
              <a:gd name="adj" fmla="val 23627"/>
            </a:avLst>
          </a:prstGeom>
          <a:solidFill>
            <a:schemeClr val="bg1"/>
          </a:solidFill>
          <a:ln>
            <a:solidFill>
              <a:srgbClr val="CA35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ru-RU" sz="1067" b="1" dirty="0">
                <a:solidFill>
                  <a:srgbClr val="1E86C8"/>
                </a:solidFill>
                <a:latin typeface="Verdana"/>
                <a:ea typeface="Verdana"/>
              </a:rPr>
              <a:t>Присутствие консультанта ФЦК на проекте:</a:t>
            </a:r>
          </a:p>
          <a:p>
            <a:pPr algn="ctr" defTabSz="914377"/>
            <a:r>
              <a:rPr lang="ru-RU" sz="1067" b="1" dirty="0">
                <a:solidFill>
                  <a:srgbClr val="1E86C8"/>
                </a:solidFill>
                <a:latin typeface="Verdana"/>
                <a:ea typeface="Verdana"/>
              </a:rPr>
              <a:t>По необходимости (возможны ВКС)</a:t>
            </a:r>
          </a:p>
        </p:txBody>
      </p:sp>
    </p:spTree>
    <p:extLst>
      <p:ext uri="{BB962C8B-B14F-4D97-AF65-F5344CB8AC3E}">
        <p14:creationId xmlns:p14="http://schemas.microsoft.com/office/powerpoint/2010/main" val="22763077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4F0DD4F1-0CE7-46BB-AFF9-76C1E3F129DC}"/>
              </a:ext>
            </a:extLst>
          </p:cNvPr>
          <p:cNvSpPr txBox="1"/>
          <p:nvPr/>
        </p:nvSpPr>
        <p:spPr>
          <a:xfrm>
            <a:off x="525719" y="451807"/>
            <a:ext cx="9343341" cy="461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>
            <a:defPPr>
              <a:defRPr lang="ru-RU"/>
            </a:defPPr>
            <a:lvl1pPr defTabSz="1219139" hangingPunct="0">
              <a:defRPr sz="2800" b="1" kern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1219108"/>
            <a:r>
              <a:rPr lang="ru-RU" sz="2667" dirty="0"/>
              <a:t>Направления работы</a:t>
            </a:r>
          </a:p>
        </p:txBody>
      </p:sp>
      <p:cxnSp>
        <p:nvCxnSpPr>
          <p:cNvPr id="4" name="Straight Connector 85">
            <a:extLst>
              <a:ext uri="{FF2B5EF4-FFF2-40B4-BE49-F238E27FC236}">
                <a16:creationId xmlns:a16="http://schemas.microsoft.com/office/drawing/2014/main" id="{107D137E-C429-4CF3-B18F-21F7803CE9F3}"/>
              </a:ext>
            </a:extLst>
          </p:cNvPr>
          <p:cNvCxnSpPr>
            <a:cxnSpLocks/>
          </p:cNvCxnSpPr>
          <p:nvPr/>
        </p:nvCxnSpPr>
        <p:spPr>
          <a:xfrm>
            <a:off x="576056" y="6552193"/>
            <a:ext cx="10358645" cy="0"/>
          </a:xfrm>
          <a:prstGeom prst="line">
            <a:avLst/>
          </a:prstGeom>
          <a:ln w="6350">
            <a:solidFill>
              <a:srgbClr val="018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A25CA7FC-4878-43F6-81F0-AA8C1E0E6986}"/>
              </a:ext>
            </a:extLst>
          </p:cNvPr>
          <p:cNvSpPr txBox="1">
            <a:spLocks/>
          </p:cNvSpPr>
          <p:nvPr/>
        </p:nvSpPr>
        <p:spPr bwMode="gray">
          <a:xfrm>
            <a:off x="352976" y="6493904"/>
            <a:ext cx="34607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914377">
              <a:defRPr/>
            </a:pPr>
            <a:fld id="{45A4B01A-27D0-4DB5-A045-8D6724009A4B}" type="slidenum">
              <a:rPr lang="ru-RU" sz="800">
                <a:solidFill>
                  <a:srgbClr val="0073CF"/>
                </a:solidFill>
                <a:latin typeface="Arial" panose="020B0604020202020204" pitchFamily="34" charset="0"/>
              </a:rPr>
              <a:pPr defTabSz="914377">
                <a:defRPr/>
              </a:pPr>
              <a:t>5</a:t>
            </a:fld>
            <a:endParaRPr lang="ru-RU" sz="800" dirty="0">
              <a:solidFill>
                <a:srgbClr val="0073CF"/>
              </a:solidFill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B855A1-B8A9-44F8-A308-EFF7B606919A}"/>
              </a:ext>
            </a:extLst>
          </p:cNvPr>
          <p:cNvSpPr txBox="1"/>
          <p:nvPr/>
        </p:nvSpPr>
        <p:spPr>
          <a:xfrm>
            <a:off x="868287" y="1378381"/>
            <a:ext cx="5762427" cy="48218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just" defTabSz="914377"/>
            <a:r>
              <a:rPr lang="ru-RU" sz="1400" dirty="0">
                <a:solidFill>
                  <a:prstClr val="black"/>
                </a:solidFill>
                <a:latin typeface="Verdana"/>
                <a:ea typeface="Times New Roman"/>
                <a:cs typeface="Times New Roman"/>
                <a:sym typeface="Times New Roman"/>
              </a:rPr>
              <a:t>Процесс создания продукта, который демонстрирует эффект бережливого производства</a:t>
            </a:r>
            <a:endParaRPr lang="en-US" sz="1400" dirty="0">
              <a:solidFill>
                <a:prstClr val="black"/>
              </a:solidFill>
              <a:latin typeface="Verdana"/>
              <a:ea typeface="Times New Roman"/>
              <a:cs typeface="Times New Roman"/>
              <a:sym typeface="Times New Roman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A1B4FAB0-5C55-4949-8C3A-9C027A1E6692}"/>
              </a:ext>
            </a:extLst>
          </p:cNvPr>
          <p:cNvGrpSpPr/>
          <p:nvPr/>
        </p:nvGrpSpPr>
        <p:grpSpPr>
          <a:xfrm>
            <a:off x="971475" y="1822824"/>
            <a:ext cx="7002027" cy="1796049"/>
            <a:chOff x="706252" y="2180457"/>
            <a:chExt cx="10230454" cy="273566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30219FF-60FB-475F-961A-8CDA4785932B}"/>
                </a:ext>
              </a:extLst>
            </p:cNvPr>
            <p:cNvSpPr txBox="1"/>
            <p:nvPr/>
          </p:nvSpPr>
          <p:spPr>
            <a:xfrm>
              <a:off x="9690017" y="2392915"/>
              <a:ext cx="1246689" cy="914031"/>
            </a:xfrm>
            <a:prstGeom prst="rect">
              <a:avLst/>
            </a:prstGeom>
            <a:noFill/>
          </p:spPr>
          <p:txBody>
            <a:bodyPr wrap="square" lIns="45644" tIns="22823" rIns="45644" bIns="22823" rtlCol="0">
              <a:spAutoFit/>
            </a:bodyPr>
            <a:lstStyle/>
            <a:p>
              <a:pPr defTabSz="447287"/>
              <a:r>
                <a:rPr lang="ru-RU" sz="900" b="1" dirty="0">
                  <a:solidFill>
                    <a:srgbClr val="44546A"/>
                  </a:solidFill>
                  <a:latin typeface="Arial" panose="020B0604020202020204" pitchFamily="34" charset="0"/>
                </a:rPr>
                <a:t>Время </a:t>
              </a:r>
            </a:p>
            <a:p>
              <a:pPr defTabSz="447287"/>
              <a:r>
                <a:rPr lang="ru-RU" sz="900" b="1" dirty="0">
                  <a:solidFill>
                    <a:srgbClr val="44546A"/>
                  </a:solidFill>
                  <a:latin typeface="Arial" panose="020B0604020202020204" pitchFamily="34" charset="0"/>
                </a:rPr>
                <a:t>протекания </a:t>
              </a:r>
            </a:p>
            <a:p>
              <a:pPr defTabSz="447287"/>
              <a:r>
                <a:rPr lang="ru-RU" sz="900" b="1" dirty="0">
                  <a:solidFill>
                    <a:srgbClr val="44546A"/>
                  </a:solidFill>
                  <a:latin typeface="Arial" panose="020B0604020202020204" pitchFamily="34" charset="0"/>
                </a:rPr>
                <a:t>процесса </a:t>
              </a:r>
            </a:p>
            <a:p>
              <a:pPr defTabSz="447287"/>
              <a:r>
                <a:rPr lang="ru-RU" sz="900" b="1" dirty="0">
                  <a:solidFill>
                    <a:srgbClr val="44546A"/>
                  </a:solidFill>
                  <a:latin typeface="Arial" panose="020B0604020202020204" pitchFamily="34" charset="0"/>
                </a:rPr>
                <a:t>(ВПП)</a:t>
              </a:r>
            </a:p>
          </p:txBody>
        </p: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51196E6D-7306-4873-9E3A-EFBB337EB08C}"/>
                </a:ext>
              </a:extLst>
            </p:cNvPr>
            <p:cNvGrpSpPr/>
            <p:nvPr/>
          </p:nvGrpSpPr>
          <p:grpSpPr>
            <a:xfrm>
              <a:off x="706252" y="2180457"/>
              <a:ext cx="9101675" cy="2735665"/>
              <a:chOff x="1412504" y="5126458"/>
              <a:chExt cx="18203349" cy="5471329"/>
            </a:xfrm>
          </p:grpSpPr>
          <p:pic>
            <p:nvPicPr>
              <p:cNvPr id="10" name="Picture 3" descr="D:\ФЦК\презы\ик\1-02.png">
                <a:extLst>
                  <a:ext uri="{FF2B5EF4-FFF2-40B4-BE49-F238E27FC236}">
                    <a16:creationId xmlns:a16="http://schemas.microsoft.com/office/drawing/2014/main" id="{3FE3525A-89FD-4AD3-B5F1-C22E1AC511C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957" t="7154" r="12792" b="6266"/>
              <a:stretch/>
            </p:blipFill>
            <p:spPr bwMode="auto">
              <a:xfrm>
                <a:off x="1850418" y="7515975"/>
                <a:ext cx="3224669" cy="29163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3" descr="D:\ФЦК\презы\ик\1-02.png">
                <a:extLst>
                  <a:ext uri="{FF2B5EF4-FFF2-40B4-BE49-F238E27FC236}">
                    <a16:creationId xmlns:a16="http://schemas.microsoft.com/office/drawing/2014/main" id="{F82BE26C-79DE-49D8-B7AF-B6DEB8F5287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957" t="7154" r="12792" b="6266"/>
              <a:stretch/>
            </p:blipFill>
            <p:spPr bwMode="auto">
              <a:xfrm>
                <a:off x="16391184" y="7552223"/>
                <a:ext cx="3224669" cy="29163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" name="Picture 8" descr="D:\ФЦК\презы\ик\1-01.png">
                <a:extLst>
                  <a:ext uri="{FF2B5EF4-FFF2-40B4-BE49-F238E27FC236}">
                    <a16:creationId xmlns:a16="http://schemas.microsoft.com/office/drawing/2014/main" id="{097B3FB1-4A65-499B-8114-4FD359EA005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12881" y="5558133"/>
                <a:ext cx="9538672" cy="50396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6F3F881-DE70-4E57-8E05-22272B58981D}"/>
                  </a:ext>
                </a:extLst>
              </p:cNvPr>
              <p:cNvSpPr txBox="1"/>
              <p:nvPr/>
            </p:nvSpPr>
            <p:spPr>
              <a:xfrm>
                <a:off x="2462488" y="7793427"/>
                <a:ext cx="2068700" cy="468566"/>
              </a:xfrm>
              <a:prstGeom prst="rect">
                <a:avLst/>
              </a:prstGeom>
              <a:noFill/>
            </p:spPr>
            <p:txBody>
              <a:bodyPr wrap="squar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7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Склад сырья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C973848-F5D1-4500-AD24-0D630F9E400E}"/>
                  </a:ext>
                </a:extLst>
              </p:cNvPr>
              <p:cNvSpPr txBox="1"/>
              <p:nvPr/>
            </p:nvSpPr>
            <p:spPr>
              <a:xfrm>
                <a:off x="16606747" y="7883332"/>
                <a:ext cx="2860247" cy="796718"/>
              </a:xfrm>
              <a:prstGeom prst="rect">
                <a:avLst/>
              </a:prstGeom>
              <a:noFill/>
            </p:spPr>
            <p:txBody>
              <a:bodyPr wrap="squar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7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Склад готовой продукции</a:t>
                </a:r>
                <a:endParaRPr lang="ru-RU" sz="80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  <p:cxnSp>
            <p:nvCxnSpPr>
              <p:cNvPr id="15" name="Прямая соединительная линия 14">
                <a:extLst>
                  <a:ext uri="{FF2B5EF4-FFF2-40B4-BE49-F238E27FC236}">
                    <a16:creationId xmlns:a16="http://schemas.microsoft.com/office/drawing/2014/main" id="{FC917499-B64C-40AB-B32E-7BEB2A1875D5}"/>
                  </a:ext>
                </a:extLst>
              </p:cNvPr>
              <p:cNvCxnSpPr/>
              <p:nvPr/>
            </p:nvCxnSpPr>
            <p:spPr>
              <a:xfrm>
                <a:off x="1780148" y="5756979"/>
                <a:ext cx="17554167" cy="0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olid"/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Прямая соединительная линия 15">
                <a:extLst>
                  <a:ext uri="{FF2B5EF4-FFF2-40B4-BE49-F238E27FC236}">
                    <a16:creationId xmlns:a16="http://schemas.microsoft.com/office/drawing/2014/main" id="{5BAE322F-B023-464F-B2AA-79A5C408D59D}"/>
                  </a:ext>
                </a:extLst>
              </p:cNvPr>
              <p:cNvCxnSpPr/>
              <p:nvPr/>
            </p:nvCxnSpPr>
            <p:spPr>
              <a:xfrm>
                <a:off x="1985554" y="5756976"/>
                <a:ext cx="0" cy="2619085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ot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9F68FC9F-8F50-45AE-AE8D-EBEA147DA912}"/>
                  </a:ext>
                </a:extLst>
              </p:cNvPr>
              <p:cNvSpPr txBox="1"/>
              <p:nvPr/>
            </p:nvSpPr>
            <p:spPr>
              <a:xfrm>
                <a:off x="1412504" y="5126458"/>
                <a:ext cx="2068700" cy="562322"/>
              </a:xfrm>
              <a:prstGeom prst="rect">
                <a:avLst/>
              </a:prstGeom>
              <a:noFill/>
            </p:spPr>
            <p:txBody>
              <a:bodyPr wrap="squar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9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Т</a:t>
                </a:r>
                <a:r>
                  <a:rPr lang="ru-RU" sz="900" b="1" baseline="-25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54CD18C4-54AE-411C-A8B7-43BB1E0C886F}"/>
                  </a:ext>
                </a:extLst>
              </p:cNvPr>
              <p:cNvSpPr txBox="1"/>
              <p:nvPr/>
            </p:nvSpPr>
            <p:spPr>
              <a:xfrm>
                <a:off x="4243196" y="5126458"/>
                <a:ext cx="2068700" cy="562322"/>
              </a:xfrm>
              <a:prstGeom prst="rect">
                <a:avLst/>
              </a:prstGeom>
              <a:noFill/>
            </p:spPr>
            <p:txBody>
              <a:bodyPr wrap="squar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9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Т</a:t>
                </a:r>
                <a:r>
                  <a:rPr lang="ru-RU" sz="900" b="1" baseline="-25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6A77426B-E66F-4598-BFA3-B752CCE9B897}"/>
                  </a:ext>
                </a:extLst>
              </p:cNvPr>
              <p:cNvSpPr txBox="1"/>
              <p:nvPr/>
            </p:nvSpPr>
            <p:spPr>
              <a:xfrm>
                <a:off x="5673695" y="5126458"/>
                <a:ext cx="2068700" cy="562322"/>
              </a:xfrm>
              <a:prstGeom prst="rect">
                <a:avLst/>
              </a:prstGeom>
              <a:noFill/>
            </p:spPr>
            <p:txBody>
              <a:bodyPr wrap="squar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9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Т</a:t>
                </a:r>
                <a:r>
                  <a:rPr lang="ru-RU" sz="900" b="1" baseline="-25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24BFDE06-4355-49D7-A952-48E9EDE06651}"/>
                  </a:ext>
                </a:extLst>
              </p:cNvPr>
              <p:cNvSpPr txBox="1"/>
              <p:nvPr/>
            </p:nvSpPr>
            <p:spPr>
              <a:xfrm>
                <a:off x="9366620" y="5126458"/>
                <a:ext cx="2068700" cy="562322"/>
              </a:xfrm>
              <a:prstGeom prst="rect">
                <a:avLst/>
              </a:prstGeom>
              <a:noFill/>
            </p:spPr>
            <p:txBody>
              <a:bodyPr wrap="squar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9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Т</a:t>
                </a:r>
                <a:r>
                  <a:rPr lang="ru-RU" sz="900" b="1" baseline="-25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4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6311FF94-912E-4D75-8125-9EC723F0F646}"/>
                  </a:ext>
                </a:extLst>
              </p:cNvPr>
              <p:cNvSpPr txBox="1"/>
              <p:nvPr/>
            </p:nvSpPr>
            <p:spPr>
              <a:xfrm>
                <a:off x="10513280" y="5126458"/>
                <a:ext cx="2068700" cy="562322"/>
              </a:xfrm>
              <a:prstGeom prst="rect">
                <a:avLst/>
              </a:prstGeom>
              <a:noFill/>
            </p:spPr>
            <p:txBody>
              <a:bodyPr wrap="squar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9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Т</a:t>
                </a:r>
                <a:r>
                  <a:rPr lang="ru-RU" sz="900" b="1" baseline="-25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5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11F4E8B2-421A-4C4D-B48B-96AD26A6614D}"/>
                  </a:ext>
                </a:extLst>
              </p:cNvPr>
              <p:cNvSpPr txBox="1"/>
              <p:nvPr/>
            </p:nvSpPr>
            <p:spPr>
              <a:xfrm>
                <a:off x="14246034" y="5126458"/>
                <a:ext cx="2068700" cy="562322"/>
              </a:xfrm>
              <a:prstGeom prst="rect">
                <a:avLst/>
              </a:prstGeom>
              <a:noFill/>
            </p:spPr>
            <p:txBody>
              <a:bodyPr wrap="squar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9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Т</a:t>
                </a:r>
                <a:r>
                  <a:rPr lang="ru-RU" sz="900" b="1" baseline="-25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6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EAFF7669-916A-44E2-B106-32DAC1268C2C}"/>
                  </a:ext>
                </a:extLst>
              </p:cNvPr>
              <p:cNvSpPr txBox="1"/>
              <p:nvPr/>
            </p:nvSpPr>
            <p:spPr>
              <a:xfrm>
                <a:off x="15880893" y="5126458"/>
                <a:ext cx="2068700" cy="562322"/>
              </a:xfrm>
              <a:prstGeom prst="rect">
                <a:avLst/>
              </a:prstGeom>
              <a:noFill/>
            </p:spPr>
            <p:txBody>
              <a:bodyPr wrap="squar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9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Т</a:t>
                </a:r>
                <a:r>
                  <a:rPr lang="ru-RU" sz="900" b="1" baseline="-25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7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79906D8E-6B39-4D93-AB6F-4FBBF953EDC3}"/>
                  </a:ext>
                </a:extLst>
              </p:cNvPr>
              <p:cNvSpPr txBox="1"/>
              <p:nvPr/>
            </p:nvSpPr>
            <p:spPr>
              <a:xfrm>
                <a:off x="6551696" y="9860716"/>
                <a:ext cx="882992" cy="515442"/>
              </a:xfrm>
              <a:prstGeom prst="rect">
                <a:avLst/>
              </a:prstGeom>
              <a:noFill/>
            </p:spPr>
            <p:txBody>
              <a:bodyPr wrap="non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8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НЗП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3D9B9C8B-246F-48DA-AD8D-3AC68D7950D8}"/>
                  </a:ext>
                </a:extLst>
              </p:cNvPr>
              <p:cNvSpPr txBox="1"/>
              <p:nvPr/>
            </p:nvSpPr>
            <p:spPr>
              <a:xfrm>
                <a:off x="9007223" y="9860716"/>
                <a:ext cx="882992" cy="515442"/>
              </a:xfrm>
              <a:prstGeom prst="rect">
                <a:avLst/>
              </a:prstGeom>
              <a:noFill/>
            </p:spPr>
            <p:txBody>
              <a:bodyPr wrap="non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8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НЗП</a:t>
                </a:r>
              </a:p>
            </p:txBody>
          </p:sp>
          <p:cxnSp>
            <p:nvCxnSpPr>
              <p:cNvPr id="28" name="Прямая со стрелкой 27">
                <a:extLst>
                  <a:ext uri="{FF2B5EF4-FFF2-40B4-BE49-F238E27FC236}">
                    <a16:creationId xmlns:a16="http://schemas.microsoft.com/office/drawing/2014/main" id="{86A8351F-B9B0-4FFA-98A7-F1F6718B2498}"/>
                  </a:ext>
                </a:extLst>
              </p:cNvPr>
              <p:cNvCxnSpPr/>
              <p:nvPr/>
            </p:nvCxnSpPr>
            <p:spPr>
              <a:xfrm>
                <a:off x="10080714" y="9410171"/>
                <a:ext cx="1121793" cy="0"/>
              </a:xfrm>
              <a:prstGeom prst="straightConnector1">
                <a:avLst/>
              </a:prstGeom>
              <a:ln w="31750">
                <a:solidFill>
                  <a:srgbClr val="002060"/>
                </a:solidFill>
                <a:prstDash val="solid"/>
                <a:headEnd type="oval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Прямая со стрелкой 28">
                <a:extLst>
                  <a:ext uri="{FF2B5EF4-FFF2-40B4-BE49-F238E27FC236}">
                    <a16:creationId xmlns:a16="http://schemas.microsoft.com/office/drawing/2014/main" id="{F6173328-CEC2-4B77-9662-E8216E968B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20999" y="9308572"/>
                <a:ext cx="1425675" cy="0"/>
              </a:xfrm>
              <a:prstGeom prst="straightConnector1">
                <a:avLst/>
              </a:prstGeom>
              <a:ln w="31750">
                <a:solidFill>
                  <a:srgbClr val="002060"/>
                </a:solidFill>
                <a:prstDash val="solid"/>
                <a:headEnd type="oval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F8F618E8-E01C-4E04-8161-46B3E7C17C0C}"/>
                  </a:ext>
                </a:extLst>
              </p:cNvPr>
              <p:cNvSpPr txBox="1"/>
              <p:nvPr/>
            </p:nvSpPr>
            <p:spPr>
              <a:xfrm>
                <a:off x="11378847" y="9860716"/>
                <a:ext cx="882992" cy="515442"/>
              </a:xfrm>
              <a:prstGeom prst="rect">
                <a:avLst/>
              </a:prstGeom>
              <a:noFill/>
            </p:spPr>
            <p:txBody>
              <a:bodyPr wrap="non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8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НЗП</a:t>
                </a:r>
              </a:p>
            </p:txBody>
          </p:sp>
          <p:sp>
            <p:nvSpPr>
              <p:cNvPr id="31" name="Скругленный прямоугольник 33">
                <a:extLst>
                  <a:ext uri="{FF2B5EF4-FFF2-40B4-BE49-F238E27FC236}">
                    <a16:creationId xmlns:a16="http://schemas.microsoft.com/office/drawing/2014/main" id="{7C101AB4-5127-463E-A5F7-9F48C456CEA4}"/>
                  </a:ext>
                </a:extLst>
              </p:cNvPr>
              <p:cNvSpPr/>
              <p:nvPr/>
            </p:nvSpPr>
            <p:spPr>
              <a:xfrm>
                <a:off x="12521806" y="8951979"/>
                <a:ext cx="1035439" cy="870501"/>
              </a:xfrm>
              <a:prstGeom prst="roundRect">
                <a:avLst/>
              </a:prstGeom>
              <a:noFill/>
              <a:ln w="22225">
                <a:solidFill>
                  <a:srgbClr val="00206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644" tIns="22823" rIns="45644" bIns="22823" rtlCol="0" anchor="ctr"/>
              <a:lstStyle/>
              <a:p>
                <a:pPr algn="ctr" defTabSz="447287"/>
                <a:endParaRPr lang="ru-RU" sz="9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cxnSp>
            <p:nvCxnSpPr>
              <p:cNvPr id="32" name="Прямая со стрелкой 31">
                <a:extLst>
                  <a:ext uri="{FF2B5EF4-FFF2-40B4-BE49-F238E27FC236}">
                    <a16:creationId xmlns:a16="http://schemas.microsoft.com/office/drawing/2014/main" id="{5A610411-1487-4641-BD92-EE28232B606A}"/>
                  </a:ext>
                </a:extLst>
              </p:cNvPr>
              <p:cNvCxnSpPr/>
              <p:nvPr/>
            </p:nvCxnSpPr>
            <p:spPr>
              <a:xfrm>
                <a:off x="14913221" y="9347377"/>
                <a:ext cx="1635598" cy="0"/>
              </a:xfrm>
              <a:prstGeom prst="straightConnector1">
                <a:avLst/>
              </a:prstGeom>
              <a:ln w="31750">
                <a:solidFill>
                  <a:srgbClr val="002060"/>
                </a:solidFill>
                <a:prstDash val="solid"/>
                <a:headEnd type="oval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единительная линия 32">
                <a:extLst>
                  <a:ext uri="{FF2B5EF4-FFF2-40B4-BE49-F238E27FC236}">
                    <a16:creationId xmlns:a16="http://schemas.microsoft.com/office/drawing/2014/main" id="{B481341E-5D71-47E3-8198-FC98A1693436}"/>
                  </a:ext>
                </a:extLst>
              </p:cNvPr>
              <p:cNvCxnSpPr/>
              <p:nvPr/>
            </p:nvCxnSpPr>
            <p:spPr>
              <a:xfrm>
                <a:off x="4919797" y="5756983"/>
                <a:ext cx="0" cy="3590401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ot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Прямая соединительная линия 33">
                <a:extLst>
                  <a:ext uri="{FF2B5EF4-FFF2-40B4-BE49-F238E27FC236}">
                    <a16:creationId xmlns:a16="http://schemas.microsoft.com/office/drawing/2014/main" id="{3E5CD48C-E5B8-4670-9C92-20609E27BC3C}"/>
                  </a:ext>
                </a:extLst>
              </p:cNvPr>
              <p:cNvCxnSpPr/>
              <p:nvPr/>
            </p:nvCxnSpPr>
            <p:spPr>
              <a:xfrm>
                <a:off x="6274545" y="5756983"/>
                <a:ext cx="0" cy="3590401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ot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Прямая соединительная линия 34">
                <a:extLst>
                  <a:ext uri="{FF2B5EF4-FFF2-40B4-BE49-F238E27FC236}">
                    <a16:creationId xmlns:a16="http://schemas.microsoft.com/office/drawing/2014/main" id="{206C338F-74FC-4BF5-A081-877A72D667DA}"/>
                  </a:ext>
                </a:extLst>
              </p:cNvPr>
              <p:cNvCxnSpPr/>
              <p:nvPr/>
            </p:nvCxnSpPr>
            <p:spPr>
              <a:xfrm>
                <a:off x="11202496" y="5756983"/>
                <a:ext cx="0" cy="3590401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ot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Прямая соединительная линия 35">
                <a:extLst>
                  <a:ext uri="{FF2B5EF4-FFF2-40B4-BE49-F238E27FC236}">
                    <a16:creationId xmlns:a16="http://schemas.microsoft.com/office/drawing/2014/main" id="{48C43E09-154A-4329-A034-7309BCC1A56B}"/>
                  </a:ext>
                </a:extLst>
              </p:cNvPr>
              <p:cNvCxnSpPr/>
              <p:nvPr/>
            </p:nvCxnSpPr>
            <p:spPr>
              <a:xfrm>
                <a:off x="10080705" y="5756983"/>
                <a:ext cx="0" cy="3590401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ot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Прямая соединительная линия 36">
                <a:extLst>
                  <a:ext uri="{FF2B5EF4-FFF2-40B4-BE49-F238E27FC236}">
                    <a16:creationId xmlns:a16="http://schemas.microsoft.com/office/drawing/2014/main" id="{0E649C60-0639-405A-BABB-4003A403C8F5}"/>
                  </a:ext>
                </a:extLst>
              </p:cNvPr>
              <p:cNvCxnSpPr/>
              <p:nvPr/>
            </p:nvCxnSpPr>
            <p:spPr>
              <a:xfrm>
                <a:off x="14913221" y="5756983"/>
                <a:ext cx="0" cy="3590401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ot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Прямая соединительная линия 37">
                <a:extLst>
                  <a:ext uri="{FF2B5EF4-FFF2-40B4-BE49-F238E27FC236}">
                    <a16:creationId xmlns:a16="http://schemas.microsoft.com/office/drawing/2014/main" id="{DDCD4B07-26D3-436D-AC30-473ACD2644EF}"/>
                  </a:ext>
                </a:extLst>
              </p:cNvPr>
              <p:cNvCxnSpPr/>
              <p:nvPr/>
            </p:nvCxnSpPr>
            <p:spPr>
              <a:xfrm>
                <a:off x="16548819" y="5756983"/>
                <a:ext cx="0" cy="3590401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ot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C40BDC0D-07C7-4501-BA29-D6FC694E4379}"/>
                  </a:ext>
                </a:extLst>
              </p:cNvPr>
              <p:cNvSpPr/>
              <p:nvPr/>
            </p:nvSpPr>
            <p:spPr>
              <a:xfrm>
                <a:off x="1783075" y="5558135"/>
                <a:ext cx="398412" cy="395180"/>
              </a:xfrm>
              <a:prstGeom prst="ellipse">
                <a:avLst/>
              </a:prstGeom>
              <a:noFill/>
              <a:ln w="12700">
                <a:solidFill>
                  <a:srgbClr val="00206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644" tIns="22823" rIns="45644" bIns="22823" rtlCol="0" anchor="ctr"/>
              <a:lstStyle/>
              <a:p>
                <a:pPr algn="ctr" defTabSz="447287"/>
                <a:endParaRPr lang="ru-RU" sz="9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8D6BD346-B9D3-4EAC-81CF-3E5123F8EED3}"/>
                  </a:ext>
                </a:extLst>
              </p:cNvPr>
              <p:cNvSpPr/>
              <p:nvPr/>
            </p:nvSpPr>
            <p:spPr>
              <a:xfrm>
                <a:off x="4720590" y="5558135"/>
                <a:ext cx="398412" cy="395180"/>
              </a:xfrm>
              <a:prstGeom prst="ellipse">
                <a:avLst/>
              </a:prstGeom>
              <a:noFill/>
              <a:ln w="12700">
                <a:solidFill>
                  <a:srgbClr val="00206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644" tIns="22823" rIns="45644" bIns="22823" rtlCol="0" anchor="ctr"/>
              <a:lstStyle/>
              <a:p>
                <a:pPr algn="ctr" defTabSz="447287"/>
                <a:endParaRPr lang="ru-RU" sz="9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95C826F8-B478-4E7A-88CE-7474D1908DB3}"/>
                  </a:ext>
                </a:extLst>
              </p:cNvPr>
              <p:cNvSpPr/>
              <p:nvPr/>
            </p:nvSpPr>
            <p:spPr>
              <a:xfrm>
                <a:off x="6064448" y="5558135"/>
                <a:ext cx="398412" cy="395180"/>
              </a:xfrm>
              <a:prstGeom prst="ellipse">
                <a:avLst/>
              </a:prstGeom>
              <a:noFill/>
              <a:ln w="12700">
                <a:solidFill>
                  <a:srgbClr val="00206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644" tIns="22823" rIns="45644" bIns="22823" rtlCol="0" anchor="ctr"/>
              <a:lstStyle/>
              <a:p>
                <a:pPr algn="ctr" defTabSz="447287"/>
                <a:endParaRPr lang="ru-RU" sz="9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2F6239B4-BCF5-4948-875A-4F6DE35A6D7A}"/>
                  </a:ext>
                </a:extLst>
              </p:cNvPr>
              <p:cNvSpPr/>
              <p:nvPr/>
            </p:nvSpPr>
            <p:spPr>
              <a:xfrm>
                <a:off x="9870607" y="5558135"/>
                <a:ext cx="398412" cy="395180"/>
              </a:xfrm>
              <a:prstGeom prst="ellipse">
                <a:avLst/>
              </a:prstGeom>
              <a:noFill/>
              <a:ln w="12700">
                <a:solidFill>
                  <a:srgbClr val="00206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644" tIns="22823" rIns="45644" bIns="22823" rtlCol="0" anchor="ctr"/>
              <a:lstStyle/>
              <a:p>
                <a:pPr algn="ctr" defTabSz="447287"/>
                <a:endParaRPr lang="ru-RU" sz="9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07CFA6A1-FDD4-4B03-A040-309C2CD0FED6}"/>
                  </a:ext>
                </a:extLst>
              </p:cNvPr>
              <p:cNvSpPr/>
              <p:nvPr/>
            </p:nvSpPr>
            <p:spPr>
              <a:xfrm>
                <a:off x="10997789" y="5539085"/>
                <a:ext cx="398412" cy="395180"/>
              </a:xfrm>
              <a:prstGeom prst="ellipse">
                <a:avLst/>
              </a:prstGeom>
              <a:noFill/>
              <a:ln w="12700">
                <a:solidFill>
                  <a:srgbClr val="00206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644" tIns="22823" rIns="45644" bIns="22823" rtlCol="0" anchor="ctr"/>
              <a:lstStyle/>
              <a:p>
                <a:pPr algn="ctr" defTabSz="447287"/>
                <a:endParaRPr lang="ru-RU" sz="9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id="{975146BB-4FF5-4A3D-86E0-7274368F5D49}"/>
                  </a:ext>
                </a:extLst>
              </p:cNvPr>
              <p:cNvSpPr/>
              <p:nvPr/>
            </p:nvSpPr>
            <p:spPr>
              <a:xfrm>
                <a:off x="14700894" y="5562238"/>
                <a:ext cx="398412" cy="395180"/>
              </a:xfrm>
              <a:prstGeom prst="ellipse">
                <a:avLst/>
              </a:prstGeom>
              <a:noFill/>
              <a:ln w="12700">
                <a:solidFill>
                  <a:srgbClr val="00206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644" tIns="22823" rIns="45644" bIns="22823" rtlCol="0" anchor="ctr"/>
              <a:lstStyle/>
              <a:p>
                <a:pPr algn="ctr" defTabSz="447287"/>
                <a:endParaRPr lang="ru-RU" sz="9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D34C7891-0FC2-47B5-85FC-BAB802975236}"/>
                  </a:ext>
                </a:extLst>
              </p:cNvPr>
              <p:cNvSpPr/>
              <p:nvPr/>
            </p:nvSpPr>
            <p:spPr>
              <a:xfrm>
                <a:off x="16312420" y="5562238"/>
                <a:ext cx="398412" cy="395180"/>
              </a:xfrm>
              <a:prstGeom prst="ellipse">
                <a:avLst/>
              </a:prstGeom>
              <a:noFill/>
              <a:ln w="12700">
                <a:solidFill>
                  <a:srgbClr val="00206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644" tIns="22823" rIns="45644" bIns="22823" rtlCol="0" anchor="ctr"/>
              <a:lstStyle/>
              <a:p>
                <a:pPr algn="ctr" defTabSz="447287"/>
                <a:endParaRPr lang="ru-RU" sz="9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6" name="Скругленный прямоугольник 33">
                <a:extLst>
                  <a:ext uri="{FF2B5EF4-FFF2-40B4-BE49-F238E27FC236}">
                    <a16:creationId xmlns:a16="http://schemas.microsoft.com/office/drawing/2014/main" id="{10520692-7B3B-4E27-B64A-487870EAED1F}"/>
                  </a:ext>
                </a:extLst>
              </p:cNvPr>
              <p:cNvSpPr/>
              <p:nvPr/>
            </p:nvSpPr>
            <p:spPr>
              <a:xfrm>
                <a:off x="7717652" y="8951979"/>
                <a:ext cx="1035439" cy="870501"/>
              </a:xfrm>
              <a:prstGeom prst="roundRect">
                <a:avLst/>
              </a:prstGeom>
              <a:noFill/>
              <a:ln w="22225">
                <a:solidFill>
                  <a:srgbClr val="00206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644" tIns="22823" rIns="45644" bIns="22823" rtlCol="0" anchor="ctr"/>
              <a:lstStyle/>
              <a:p>
                <a:pPr algn="ctr" defTabSz="447287"/>
                <a:endParaRPr lang="ru-RU" sz="9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47" name="Изображение" descr="Изображение">
                <a:extLst>
                  <a:ext uri="{FF2B5EF4-FFF2-40B4-BE49-F238E27FC236}">
                    <a16:creationId xmlns:a16="http://schemas.microsoft.com/office/drawing/2014/main" id="{372493CA-24FB-4818-A48C-47996AE48E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2581981" y="8303162"/>
                <a:ext cx="881831" cy="495301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48" name="Изображение" descr="Изображение">
                <a:extLst>
                  <a:ext uri="{FF2B5EF4-FFF2-40B4-BE49-F238E27FC236}">
                    <a16:creationId xmlns:a16="http://schemas.microsoft.com/office/drawing/2014/main" id="{D44078DF-CA8C-435D-99C7-D9170A5CDD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794455" y="8328566"/>
                <a:ext cx="881831" cy="495301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49" name="Рисунок 48">
                <a:extLst>
                  <a:ext uri="{FF2B5EF4-FFF2-40B4-BE49-F238E27FC236}">
                    <a16:creationId xmlns:a16="http://schemas.microsoft.com/office/drawing/2014/main" id="{313831F2-CDDC-4B60-8F6D-ACA6895181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xmlns="" r:embed="rId16"/>
                  </a:ext>
                </a:extLst>
              </a:blip>
              <a:stretch>
                <a:fillRect/>
              </a:stretch>
            </p:blipFill>
            <p:spPr>
              <a:xfrm>
                <a:off x="5235668" y="8336201"/>
                <a:ext cx="793143" cy="574256"/>
              </a:xfrm>
              <a:prstGeom prst="rect">
                <a:avLst/>
              </a:prstGeom>
            </p:spPr>
          </p:pic>
          <p:pic>
            <p:nvPicPr>
              <p:cNvPr id="50" name="Рисунок 49">
                <a:extLst>
                  <a:ext uri="{FF2B5EF4-FFF2-40B4-BE49-F238E27FC236}">
                    <a16:creationId xmlns:a16="http://schemas.microsoft.com/office/drawing/2014/main" id="{BCDAA0DA-E660-42FD-8FCE-36026BCDA3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xmlns="" r:embed="rId16"/>
                  </a:ext>
                </a:extLst>
              </a:blip>
              <a:stretch>
                <a:fillRect/>
              </a:stretch>
            </p:blipFill>
            <p:spPr>
              <a:xfrm>
                <a:off x="15453212" y="8338690"/>
                <a:ext cx="793143" cy="574256"/>
              </a:xfrm>
              <a:prstGeom prst="rect">
                <a:avLst/>
              </a:prstGeom>
            </p:spPr>
          </p:pic>
          <p:pic>
            <p:nvPicPr>
              <p:cNvPr id="51" name="Рисунок 50">
                <a:extLst>
                  <a:ext uri="{FF2B5EF4-FFF2-40B4-BE49-F238E27FC236}">
                    <a16:creationId xmlns:a16="http://schemas.microsoft.com/office/drawing/2014/main" id="{92F809DF-9BBC-4E79-A02C-D0C11567F6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xmlns="" r:embed="rId18"/>
                  </a:ext>
                </a:extLst>
              </a:blip>
              <a:stretch>
                <a:fillRect/>
              </a:stretch>
            </p:blipFill>
            <p:spPr>
              <a:xfrm>
                <a:off x="7944910" y="9053553"/>
                <a:ext cx="615813" cy="636416"/>
              </a:xfrm>
              <a:prstGeom prst="rect">
                <a:avLst/>
              </a:prstGeom>
            </p:spPr>
          </p:pic>
          <p:pic>
            <p:nvPicPr>
              <p:cNvPr id="52" name="Рисунок 51">
                <a:extLst>
                  <a:ext uri="{FF2B5EF4-FFF2-40B4-BE49-F238E27FC236}">
                    <a16:creationId xmlns:a16="http://schemas.microsoft.com/office/drawing/2014/main" id="{9288E93E-C225-4CFC-9894-65ACC245D7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xmlns="" r:embed="rId18"/>
                  </a:ext>
                </a:extLst>
              </a:blip>
              <a:stretch>
                <a:fillRect/>
              </a:stretch>
            </p:blipFill>
            <p:spPr>
              <a:xfrm>
                <a:off x="12731618" y="9069021"/>
                <a:ext cx="615813" cy="636416"/>
              </a:xfrm>
              <a:prstGeom prst="rect">
                <a:avLst/>
              </a:prstGeom>
            </p:spPr>
          </p:pic>
          <p:pic>
            <p:nvPicPr>
              <p:cNvPr id="53" name="Рисунок 52">
                <a:extLst>
                  <a:ext uri="{FF2B5EF4-FFF2-40B4-BE49-F238E27FC236}">
                    <a16:creationId xmlns:a16="http://schemas.microsoft.com/office/drawing/2014/main" id="{1F44D767-51C5-4C45-8916-B06D0E69B3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xmlns="" r:embed="rId20"/>
                  </a:ext>
                </a:extLst>
              </a:blip>
              <a:stretch>
                <a:fillRect/>
              </a:stretch>
            </p:blipFill>
            <p:spPr>
              <a:xfrm>
                <a:off x="10339210" y="8281567"/>
                <a:ext cx="584496" cy="936184"/>
              </a:xfrm>
              <a:prstGeom prst="rect">
                <a:avLst/>
              </a:prstGeom>
            </p:spPr>
          </p:pic>
          <p:pic>
            <p:nvPicPr>
              <p:cNvPr id="54" name="Рисунок 53">
                <a:extLst>
                  <a:ext uri="{FF2B5EF4-FFF2-40B4-BE49-F238E27FC236}">
                    <a16:creationId xmlns:a16="http://schemas.microsoft.com/office/drawing/2014/main" id="{961B314E-E739-47E3-A6D3-6207F9BFAB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xmlns="" r:embed="rId22"/>
                  </a:ext>
                </a:extLst>
              </a:blip>
              <a:stretch>
                <a:fillRect/>
              </a:stretch>
            </p:blipFill>
            <p:spPr>
              <a:xfrm>
                <a:off x="11343571" y="8931583"/>
                <a:ext cx="919000" cy="857733"/>
              </a:xfrm>
              <a:prstGeom prst="rect">
                <a:avLst/>
              </a:prstGeom>
            </p:spPr>
          </p:pic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61DF1AC2-C12A-4518-9FEE-7A18677DD809}"/>
                  </a:ext>
                </a:extLst>
              </p:cNvPr>
              <p:cNvSpPr txBox="1"/>
              <p:nvPr/>
            </p:nvSpPr>
            <p:spPr>
              <a:xfrm>
                <a:off x="13796492" y="9860716"/>
                <a:ext cx="882992" cy="515442"/>
              </a:xfrm>
              <a:prstGeom prst="rect">
                <a:avLst/>
              </a:prstGeom>
              <a:noFill/>
            </p:spPr>
            <p:txBody>
              <a:bodyPr wrap="non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8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НЗП</a:t>
                </a:r>
              </a:p>
            </p:txBody>
          </p:sp>
          <p:pic>
            <p:nvPicPr>
              <p:cNvPr id="56" name="Рисунок 55">
                <a:extLst>
                  <a:ext uri="{FF2B5EF4-FFF2-40B4-BE49-F238E27FC236}">
                    <a16:creationId xmlns:a16="http://schemas.microsoft.com/office/drawing/2014/main" id="{BBD1CD47-7F3C-4FD6-985B-B0CBDE817F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xmlns="" r:embed="rId22"/>
                  </a:ext>
                </a:extLst>
              </a:blip>
              <a:stretch>
                <a:fillRect/>
              </a:stretch>
            </p:blipFill>
            <p:spPr>
              <a:xfrm>
                <a:off x="13761219" y="8931583"/>
                <a:ext cx="919000" cy="857733"/>
              </a:xfrm>
              <a:prstGeom prst="rect">
                <a:avLst/>
              </a:prstGeom>
            </p:spPr>
          </p:pic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285D9E12-A602-492C-8B63-94064AA197B9}"/>
                  </a:ext>
                </a:extLst>
              </p:cNvPr>
              <p:cNvSpPr txBox="1"/>
              <p:nvPr/>
            </p:nvSpPr>
            <p:spPr>
              <a:xfrm>
                <a:off x="17562027" y="9746205"/>
                <a:ext cx="882992" cy="515442"/>
              </a:xfrm>
              <a:prstGeom prst="rect">
                <a:avLst/>
              </a:prstGeom>
              <a:noFill/>
            </p:spPr>
            <p:txBody>
              <a:bodyPr wrap="none" lIns="45644" tIns="22823" rIns="45644" bIns="22823" rtlCol="0">
                <a:spAutoFit/>
              </a:bodyPr>
              <a:lstStyle/>
              <a:p>
                <a:pPr algn="ctr" defTabSz="447287"/>
                <a:r>
                  <a:rPr lang="ru-RU" sz="8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НЗП</a:t>
                </a:r>
              </a:p>
            </p:txBody>
          </p:sp>
          <p:pic>
            <p:nvPicPr>
              <p:cNvPr id="58" name="Рисунок 57">
                <a:extLst>
                  <a:ext uri="{FF2B5EF4-FFF2-40B4-BE49-F238E27FC236}">
                    <a16:creationId xmlns:a16="http://schemas.microsoft.com/office/drawing/2014/main" id="{55137841-A37E-409E-8925-952B05EB43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xmlns="" r:embed="rId22"/>
                  </a:ext>
                </a:extLst>
              </a:blip>
              <a:stretch>
                <a:fillRect/>
              </a:stretch>
            </p:blipFill>
            <p:spPr>
              <a:xfrm>
                <a:off x="17544018" y="8817072"/>
                <a:ext cx="919000" cy="857733"/>
              </a:xfrm>
              <a:prstGeom prst="rect">
                <a:avLst/>
              </a:prstGeom>
            </p:spPr>
          </p:pic>
          <p:pic>
            <p:nvPicPr>
              <p:cNvPr id="59" name="Рисунок 58">
                <a:extLst>
                  <a:ext uri="{FF2B5EF4-FFF2-40B4-BE49-F238E27FC236}">
                    <a16:creationId xmlns:a16="http://schemas.microsoft.com/office/drawing/2014/main" id="{D8808A49-129B-4F65-BF32-B5461C2BBE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xmlns="" r:embed="rId22"/>
                  </a:ext>
                </a:extLst>
              </a:blip>
              <a:stretch>
                <a:fillRect/>
              </a:stretch>
            </p:blipFill>
            <p:spPr>
              <a:xfrm>
                <a:off x="3003252" y="8722269"/>
                <a:ext cx="919000" cy="857733"/>
              </a:xfrm>
              <a:prstGeom prst="rect">
                <a:avLst/>
              </a:prstGeom>
            </p:spPr>
          </p:pic>
          <p:pic>
            <p:nvPicPr>
              <p:cNvPr id="60" name="Рисунок 59">
                <a:extLst>
                  <a:ext uri="{FF2B5EF4-FFF2-40B4-BE49-F238E27FC236}">
                    <a16:creationId xmlns:a16="http://schemas.microsoft.com/office/drawing/2014/main" id="{4CA60314-A7C2-4AB2-B84F-7B026BC3B8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xmlns="" r:embed="rId22"/>
                  </a:ext>
                </a:extLst>
              </a:blip>
              <a:stretch>
                <a:fillRect/>
              </a:stretch>
            </p:blipFill>
            <p:spPr>
              <a:xfrm>
                <a:off x="8951313" y="8932926"/>
                <a:ext cx="919000" cy="857733"/>
              </a:xfrm>
              <a:prstGeom prst="rect">
                <a:avLst/>
              </a:prstGeom>
            </p:spPr>
          </p:pic>
          <p:pic>
            <p:nvPicPr>
              <p:cNvPr id="61" name="Рисунок 60">
                <a:extLst>
                  <a:ext uri="{FF2B5EF4-FFF2-40B4-BE49-F238E27FC236}">
                    <a16:creationId xmlns:a16="http://schemas.microsoft.com/office/drawing/2014/main" id="{873D1AB1-B740-4A92-8255-4856A99CB1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xmlns="" r:embed="rId22"/>
                  </a:ext>
                </a:extLst>
              </a:blip>
              <a:stretch>
                <a:fillRect/>
              </a:stretch>
            </p:blipFill>
            <p:spPr>
              <a:xfrm>
                <a:off x="6549182" y="8934544"/>
                <a:ext cx="919000" cy="857733"/>
              </a:xfrm>
              <a:prstGeom prst="rect">
                <a:avLst/>
              </a:prstGeom>
            </p:spPr>
          </p:pic>
        </p:grpSp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52C70E68-3DB7-4B8D-940F-419E8826F46C}"/>
              </a:ext>
            </a:extLst>
          </p:cNvPr>
          <p:cNvGrpSpPr/>
          <p:nvPr/>
        </p:nvGrpSpPr>
        <p:grpSpPr>
          <a:xfrm>
            <a:off x="8648301" y="2407944"/>
            <a:ext cx="2412232" cy="543739"/>
            <a:chOff x="5248879" y="5245160"/>
            <a:chExt cx="1920493" cy="493368"/>
          </a:xfrm>
        </p:grpSpPr>
        <p:pic>
          <p:nvPicPr>
            <p:cNvPr id="63" name="Рисунок 62">
              <a:extLst>
                <a:ext uri="{FF2B5EF4-FFF2-40B4-BE49-F238E27FC236}">
                  <a16:creationId xmlns:a16="http://schemas.microsoft.com/office/drawing/2014/main" id="{CBDB32EC-9F83-4D02-BAD0-8E2EFB6BD1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tretch>
              <a:fillRect/>
            </a:stretch>
          </p:blipFill>
          <p:spPr>
            <a:xfrm>
              <a:off x="5248879" y="5263191"/>
              <a:ext cx="442507" cy="457311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BE26879E-98B0-41AA-9D5C-D919F405BBBA}"/>
                </a:ext>
              </a:extLst>
            </p:cNvPr>
            <p:cNvSpPr txBox="1"/>
            <p:nvPr/>
          </p:nvSpPr>
          <p:spPr>
            <a:xfrm>
              <a:off x="5917394" y="5245160"/>
              <a:ext cx="1251978" cy="4933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defTabSz="914377"/>
              <a:r>
                <a:rPr lang="ru-RU" sz="1000" dirty="0">
                  <a:solidFill>
                    <a:prstClr val="black"/>
                  </a:solidFill>
                  <a:latin typeface="Verdana"/>
                  <a:cs typeface="Arial" panose="020B0604020202020204" pitchFamily="34" charset="0"/>
                </a:rPr>
                <a:t>Повышаем загрузку</a:t>
              </a:r>
              <a:endParaRPr lang="en-US" sz="1000" dirty="0">
                <a:solidFill>
                  <a:prstClr val="black"/>
                </a:solidFill>
                <a:latin typeface="Verdana"/>
                <a:cs typeface="Arial" panose="020B0604020202020204" pitchFamily="34" charset="0"/>
              </a:endParaRPr>
            </a:p>
            <a:p>
              <a:pPr defTabSz="914377"/>
              <a:r>
                <a:rPr lang="ru-RU" sz="1000" dirty="0">
                  <a:solidFill>
                    <a:prstClr val="black"/>
                  </a:solidFill>
                  <a:latin typeface="Verdana"/>
                  <a:cs typeface="Arial" panose="020B0604020202020204" pitchFamily="34" charset="0"/>
                </a:rPr>
                <a:t>оборудования </a:t>
              </a:r>
              <a:r>
                <a:rPr lang="ru-RU" sz="1100" dirty="0">
                  <a:solidFill>
                    <a:srgbClr val="4472C4">
                      <a:lumMod val="75000"/>
                    </a:srgbClr>
                  </a:solidFill>
                  <a:latin typeface="Verdana"/>
                  <a:cs typeface="Arial" panose="020B0604020202020204" pitchFamily="34" charset="0"/>
                </a:rPr>
                <a:t>до 85%</a:t>
              </a:r>
              <a:endParaRPr lang="ru-RU" sz="1000" dirty="0">
                <a:solidFill>
                  <a:srgbClr val="4472C4">
                    <a:lumMod val="75000"/>
                  </a:srgbClr>
                </a:solidFill>
                <a:latin typeface="Verdana"/>
                <a:cs typeface="Arial" panose="020B0604020202020204" pitchFamily="34" charset="0"/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414D7C8A-FB45-481C-B512-E63C54E81C8D}"/>
              </a:ext>
            </a:extLst>
          </p:cNvPr>
          <p:cNvGrpSpPr/>
          <p:nvPr/>
        </p:nvGrpSpPr>
        <p:grpSpPr>
          <a:xfrm>
            <a:off x="8647628" y="3157694"/>
            <a:ext cx="2445513" cy="682238"/>
            <a:chOff x="5225870" y="5869297"/>
            <a:chExt cx="2180601" cy="694367"/>
          </a:xfrm>
        </p:grpSpPr>
        <p:pic>
          <p:nvPicPr>
            <p:cNvPr id="66" name="Рисунок 65">
              <a:extLst>
                <a:ext uri="{FF2B5EF4-FFF2-40B4-BE49-F238E27FC236}">
                  <a16:creationId xmlns:a16="http://schemas.microsoft.com/office/drawing/2014/main" id="{EEC69EA0-DA3A-440D-9D50-2A2786BEC4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p:blipFill>
          <p:spPr>
            <a:xfrm>
              <a:off x="5225870" y="6011008"/>
              <a:ext cx="567573" cy="410938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861D9549-0B08-4ECA-B0AF-D088804CE44C}"/>
                </a:ext>
              </a:extLst>
            </p:cNvPr>
            <p:cNvSpPr txBox="1"/>
            <p:nvPr/>
          </p:nvSpPr>
          <p:spPr>
            <a:xfrm>
              <a:off x="5991612" y="5869297"/>
              <a:ext cx="1414859" cy="69436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defTabSz="914377"/>
              <a:r>
                <a:rPr lang="ru-RU" sz="1000" dirty="0">
                  <a:solidFill>
                    <a:prstClr val="black"/>
                  </a:solidFill>
                  <a:latin typeface="Verdana"/>
                  <a:cs typeface="Arial" panose="020B0604020202020204" pitchFamily="34" charset="0"/>
                </a:rPr>
                <a:t>Снижаем дистанцию</a:t>
              </a:r>
              <a:endParaRPr lang="en-US" sz="1000" dirty="0">
                <a:solidFill>
                  <a:prstClr val="black"/>
                </a:solidFill>
                <a:latin typeface="Verdana"/>
                <a:cs typeface="Arial" panose="020B0604020202020204" pitchFamily="34" charset="0"/>
              </a:endParaRPr>
            </a:p>
            <a:p>
              <a:pPr defTabSz="914377"/>
              <a:r>
                <a:rPr lang="ru-RU" sz="1000" dirty="0">
                  <a:solidFill>
                    <a:prstClr val="black"/>
                  </a:solidFill>
                  <a:latin typeface="Verdana"/>
                  <a:cs typeface="Arial" panose="020B0604020202020204" pitchFamily="34" charset="0"/>
                </a:rPr>
                <a:t>и время транспортировки</a:t>
              </a:r>
              <a:endParaRPr lang="en-US" sz="1000" dirty="0">
                <a:solidFill>
                  <a:prstClr val="black"/>
                </a:solidFill>
                <a:latin typeface="Verdana"/>
                <a:cs typeface="Arial" panose="020B0604020202020204" pitchFamily="34" charset="0"/>
              </a:endParaRPr>
            </a:p>
            <a:p>
              <a:pPr defTabSz="914377"/>
              <a:r>
                <a:rPr lang="ru-RU" sz="1100" dirty="0">
                  <a:solidFill>
                    <a:srgbClr val="4472C4">
                      <a:lumMod val="75000"/>
                    </a:srgbClr>
                  </a:solidFill>
                  <a:latin typeface="Verdana"/>
                  <a:cs typeface="Arial" panose="020B0604020202020204" pitchFamily="34" charset="0"/>
                </a:rPr>
                <a:t>на 30%</a:t>
              </a:r>
            </a:p>
          </p:txBody>
        </p:sp>
      </p:grp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4C576051-BE32-4767-BDDD-C61C0F07F795}"/>
              </a:ext>
            </a:extLst>
          </p:cNvPr>
          <p:cNvGrpSpPr/>
          <p:nvPr/>
        </p:nvGrpSpPr>
        <p:grpSpPr>
          <a:xfrm>
            <a:off x="8647628" y="4053639"/>
            <a:ext cx="2445509" cy="528350"/>
            <a:chOff x="9560205" y="5205706"/>
            <a:chExt cx="1719051" cy="572285"/>
          </a:xfrm>
        </p:grpSpPr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id="{BBBECBB4-C88F-4FCE-BC1C-1006F6A6B8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xmlns="" r:embed="rId20"/>
                </a:ext>
              </a:extLst>
            </a:blip>
            <a:stretch>
              <a:fillRect/>
            </a:stretch>
          </p:blipFill>
          <p:spPr>
            <a:xfrm>
              <a:off x="9560205" y="5218892"/>
              <a:ext cx="340833" cy="545910"/>
            </a:xfrm>
            <a:prstGeom prst="rect">
              <a:avLst/>
            </a:prstGeom>
          </p:spPr>
        </p:pic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7C38D83F-61E4-4E93-8C0E-7A1F5C3D7000}"/>
                </a:ext>
              </a:extLst>
            </p:cNvPr>
            <p:cNvSpPr txBox="1"/>
            <p:nvPr/>
          </p:nvSpPr>
          <p:spPr>
            <a:xfrm>
              <a:off x="10155269" y="5205706"/>
              <a:ext cx="1123987" cy="5722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defTabSz="914377"/>
              <a:r>
                <a:rPr lang="ru-RU" sz="1000" dirty="0">
                  <a:solidFill>
                    <a:prstClr val="black"/>
                  </a:solidFill>
                  <a:latin typeface="Verdana"/>
                  <a:cs typeface="Arial" panose="020B0604020202020204" pitchFamily="34" charset="0"/>
                </a:rPr>
                <a:t>Уменьшаем объем</a:t>
              </a:r>
              <a:endParaRPr lang="en-US" sz="1000" dirty="0">
                <a:solidFill>
                  <a:prstClr val="black"/>
                </a:solidFill>
                <a:latin typeface="Verdana"/>
                <a:cs typeface="Arial" panose="020B0604020202020204" pitchFamily="34" charset="0"/>
              </a:endParaRPr>
            </a:p>
            <a:p>
              <a:pPr defTabSz="914377"/>
              <a:r>
                <a:rPr lang="ru-RU" sz="1000" dirty="0">
                  <a:solidFill>
                    <a:prstClr val="black"/>
                  </a:solidFill>
                  <a:latin typeface="Verdana"/>
                  <a:cs typeface="Arial" panose="020B0604020202020204" pitchFamily="34" charset="0"/>
                </a:rPr>
                <a:t>партий не менее,</a:t>
              </a:r>
              <a:endParaRPr lang="en-US" sz="1000" dirty="0">
                <a:solidFill>
                  <a:prstClr val="black"/>
                </a:solidFill>
                <a:latin typeface="Verdana"/>
                <a:cs typeface="Arial" panose="020B0604020202020204" pitchFamily="34" charset="0"/>
              </a:endParaRPr>
            </a:p>
            <a:p>
              <a:pPr defTabSz="914377"/>
              <a:r>
                <a:rPr lang="ru-RU" sz="1000" dirty="0">
                  <a:solidFill>
                    <a:prstClr val="black"/>
                  </a:solidFill>
                  <a:latin typeface="Verdana"/>
                  <a:cs typeface="Arial" panose="020B0604020202020204" pitchFamily="34" charset="0"/>
                </a:rPr>
                <a:t>чем </a:t>
              </a:r>
              <a:r>
                <a:rPr lang="ru-RU" sz="1100" dirty="0">
                  <a:solidFill>
                    <a:srgbClr val="4472C4">
                      <a:lumMod val="75000"/>
                    </a:srgbClr>
                  </a:solidFill>
                  <a:latin typeface="Verdana"/>
                  <a:cs typeface="Arial" panose="020B0604020202020204" pitchFamily="34" charset="0"/>
                </a:rPr>
                <a:t>в 4 раза</a:t>
              </a:r>
              <a:endParaRPr lang="ru-RU" sz="1000" dirty="0">
                <a:solidFill>
                  <a:srgbClr val="4472C4">
                    <a:lumMod val="75000"/>
                  </a:srgbClr>
                </a:solidFill>
                <a:latin typeface="Verdana"/>
                <a:cs typeface="Arial" panose="020B0604020202020204" pitchFamily="34" charset="0"/>
              </a:endParaRPr>
            </a:p>
          </p:txBody>
        </p: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CEC58DE1-9E1D-4912-9472-4F0CF75EA79C}"/>
              </a:ext>
            </a:extLst>
          </p:cNvPr>
          <p:cNvGrpSpPr/>
          <p:nvPr/>
        </p:nvGrpSpPr>
        <p:grpSpPr>
          <a:xfrm>
            <a:off x="8621413" y="4872635"/>
            <a:ext cx="2445513" cy="528350"/>
            <a:chOff x="9423317" y="5947608"/>
            <a:chExt cx="2030592" cy="537744"/>
          </a:xfrm>
        </p:grpSpPr>
        <p:pic>
          <p:nvPicPr>
            <p:cNvPr id="72" name="Изображение" descr="Изображение">
              <a:extLst>
                <a:ext uri="{FF2B5EF4-FFF2-40B4-BE49-F238E27FC236}">
                  <a16:creationId xmlns:a16="http://schemas.microsoft.com/office/drawing/2014/main" id="{DB0F6F2F-A648-4DD0-B63F-0CDD3CA37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423317" y="6047129"/>
              <a:ext cx="528527" cy="350380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59BBAAB6-A7C1-41D1-B137-FC7E1499F67C}"/>
                </a:ext>
              </a:extLst>
            </p:cNvPr>
            <p:cNvSpPr txBox="1"/>
            <p:nvPr/>
          </p:nvSpPr>
          <p:spPr>
            <a:xfrm>
              <a:off x="10155269" y="5947608"/>
              <a:ext cx="1298640" cy="53774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defTabSz="914377"/>
              <a:r>
                <a:rPr lang="ru-RU" sz="1000" dirty="0">
                  <a:solidFill>
                    <a:prstClr val="black"/>
                  </a:solidFill>
                  <a:latin typeface="Verdana"/>
                  <a:cs typeface="Arial" panose="020B0604020202020204" pitchFamily="34" charset="0"/>
                </a:rPr>
                <a:t>Повышаем загрузку</a:t>
              </a:r>
              <a:endParaRPr lang="en-US" sz="1000" dirty="0">
                <a:solidFill>
                  <a:prstClr val="black"/>
                </a:solidFill>
                <a:latin typeface="Verdana"/>
                <a:cs typeface="Arial" panose="020B0604020202020204" pitchFamily="34" charset="0"/>
              </a:endParaRPr>
            </a:p>
            <a:p>
              <a:pPr defTabSz="914377"/>
              <a:r>
                <a:rPr lang="ru-RU" sz="1000" dirty="0">
                  <a:solidFill>
                    <a:prstClr val="black"/>
                  </a:solidFill>
                  <a:latin typeface="Verdana"/>
                  <a:cs typeface="Arial" panose="020B0604020202020204" pitchFamily="34" charset="0"/>
                </a:rPr>
                <a:t>персонала в среднем</a:t>
              </a:r>
              <a:endParaRPr lang="en-US" sz="1000" dirty="0">
                <a:solidFill>
                  <a:prstClr val="black"/>
                </a:solidFill>
                <a:latin typeface="Verdana"/>
                <a:cs typeface="Arial" panose="020B0604020202020204" pitchFamily="34" charset="0"/>
              </a:endParaRPr>
            </a:p>
            <a:p>
              <a:pPr defTabSz="914377"/>
              <a:r>
                <a:rPr lang="ru-RU" sz="1100" dirty="0">
                  <a:solidFill>
                    <a:srgbClr val="4472C4">
                      <a:lumMod val="75000"/>
                    </a:srgbClr>
                  </a:solidFill>
                  <a:latin typeface="Verdana"/>
                  <a:cs typeface="Arial" panose="020B0604020202020204" pitchFamily="34" charset="0"/>
                </a:rPr>
                <a:t>до 85%</a:t>
              </a:r>
            </a:p>
          </p:txBody>
        </p:sp>
      </p:grpSp>
      <p:sp>
        <p:nvSpPr>
          <p:cNvPr id="74" name="Стрелка: шеврон 73">
            <a:extLst>
              <a:ext uri="{FF2B5EF4-FFF2-40B4-BE49-F238E27FC236}">
                <a16:creationId xmlns:a16="http://schemas.microsoft.com/office/drawing/2014/main" id="{849EAE9D-3544-4229-8D34-6461CC500446}"/>
              </a:ext>
            </a:extLst>
          </p:cNvPr>
          <p:cNvSpPr/>
          <p:nvPr/>
        </p:nvSpPr>
        <p:spPr>
          <a:xfrm>
            <a:off x="2623371" y="4653235"/>
            <a:ext cx="878684" cy="430468"/>
          </a:xfrm>
          <a:prstGeom prst="chevron">
            <a:avLst>
              <a:gd name="adj" fmla="val 20098"/>
            </a:avLst>
          </a:prstGeom>
          <a:solidFill>
            <a:srgbClr val="1E8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75" name="Стрелка: шеврон 74">
            <a:extLst>
              <a:ext uri="{FF2B5EF4-FFF2-40B4-BE49-F238E27FC236}">
                <a16:creationId xmlns:a16="http://schemas.microsoft.com/office/drawing/2014/main" id="{4441B1A8-40FF-4540-85B7-A38B02FF3B62}"/>
              </a:ext>
            </a:extLst>
          </p:cNvPr>
          <p:cNvSpPr/>
          <p:nvPr/>
        </p:nvSpPr>
        <p:spPr>
          <a:xfrm>
            <a:off x="3309700" y="4653587"/>
            <a:ext cx="3667755" cy="430468"/>
          </a:xfrm>
          <a:prstGeom prst="chevron">
            <a:avLst>
              <a:gd name="adj" fmla="val 4222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76" name="Стрелка: пятиугольник 75">
            <a:extLst>
              <a:ext uri="{FF2B5EF4-FFF2-40B4-BE49-F238E27FC236}">
                <a16:creationId xmlns:a16="http://schemas.microsoft.com/office/drawing/2014/main" id="{41000089-2B77-4361-97AE-B46EE83A610B}"/>
              </a:ext>
            </a:extLst>
          </p:cNvPr>
          <p:cNvSpPr/>
          <p:nvPr/>
        </p:nvSpPr>
        <p:spPr>
          <a:xfrm>
            <a:off x="1271325" y="4653235"/>
            <a:ext cx="1442201" cy="430468"/>
          </a:xfrm>
          <a:prstGeom prst="homePlate">
            <a:avLst>
              <a:gd name="adj" fmla="val 20497"/>
            </a:avLst>
          </a:prstGeom>
          <a:solidFill>
            <a:srgbClr val="CA35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7" name="Нашивка 15">
            <a:extLst>
              <a:ext uri="{FF2B5EF4-FFF2-40B4-BE49-F238E27FC236}">
                <a16:creationId xmlns:a16="http://schemas.microsoft.com/office/drawing/2014/main" id="{50CA070E-51C5-4522-A287-0A2FDED7ADD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4991003" y="3909308"/>
            <a:ext cx="1368000" cy="432000"/>
          </a:xfrm>
          <a:custGeom>
            <a:avLst/>
            <a:gdLst>
              <a:gd name="connsiteX0" fmla="*/ 0 w 792616"/>
              <a:gd name="connsiteY0" fmla="*/ 0 h 655694"/>
              <a:gd name="connsiteX1" fmla="*/ 661215 w 792616"/>
              <a:gd name="connsiteY1" fmla="*/ 0 h 655694"/>
              <a:gd name="connsiteX2" fmla="*/ 792616 w 792616"/>
              <a:gd name="connsiteY2" fmla="*/ 327847 h 655694"/>
              <a:gd name="connsiteX3" fmla="*/ 661215 w 792616"/>
              <a:gd name="connsiteY3" fmla="*/ 655694 h 655694"/>
              <a:gd name="connsiteX4" fmla="*/ 0 w 792616"/>
              <a:gd name="connsiteY4" fmla="*/ 655694 h 655694"/>
              <a:gd name="connsiteX5" fmla="*/ 131401 w 792616"/>
              <a:gd name="connsiteY5" fmla="*/ 327847 h 655694"/>
              <a:gd name="connsiteX6" fmla="*/ 0 w 792616"/>
              <a:gd name="connsiteY6" fmla="*/ 0 h 655694"/>
              <a:gd name="connsiteX0" fmla="*/ 0 w 792616"/>
              <a:gd name="connsiteY0" fmla="*/ 0 h 655694"/>
              <a:gd name="connsiteX1" fmla="*/ 661215 w 792616"/>
              <a:gd name="connsiteY1" fmla="*/ 0 h 655694"/>
              <a:gd name="connsiteX2" fmla="*/ 792616 w 792616"/>
              <a:gd name="connsiteY2" fmla="*/ 327847 h 655694"/>
              <a:gd name="connsiteX3" fmla="*/ 661215 w 792616"/>
              <a:gd name="connsiteY3" fmla="*/ 655694 h 655694"/>
              <a:gd name="connsiteX4" fmla="*/ 0 w 792616"/>
              <a:gd name="connsiteY4" fmla="*/ 655694 h 655694"/>
              <a:gd name="connsiteX5" fmla="*/ 118066 w 792616"/>
              <a:gd name="connsiteY5" fmla="*/ 325942 h 655694"/>
              <a:gd name="connsiteX6" fmla="*/ 0 w 792616"/>
              <a:gd name="connsiteY6" fmla="*/ 0 h 655694"/>
              <a:gd name="connsiteX0" fmla="*/ 0 w 792616"/>
              <a:gd name="connsiteY0" fmla="*/ 0 h 655694"/>
              <a:gd name="connsiteX1" fmla="*/ 661215 w 792616"/>
              <a:gd name="connsiteY1" fmla="*/ 0 h 655694"/>
              <a:gd name="connsiteX2" fmla="*/ 792616 w 792616"/>
              <a:gd name="connsiteY2" fmla="*/ 327847 h 655694"/>
              <a:gd name="connsiteX3" fmla="*/ 661215 w 792616"/>
              <a:gd name="connsiteY3" fmla="*/ 655694 h 655694"/>
              <a:gd name="connsiteX4" fmla="*/ 0 w 792616"/>
              <a:gd name="connsiteY4" fmla="*/ 655694 h 655694"/>
              <a:gd name="connsiteX5" fmla="*/ 94347 w 792616"/>
              <a:gd name="connsiteY5" fmla="*/ 325942 h 655694"/>
              <a:gd name="connsiteX6" fmla="*/ 0 w 792616"/>
              <a:gd name="connsiteY6" fmla="*/ 0 h 655694"/>
              <a:gd name="connsiteX0" fmla="*/ 0 w 792616"/>
              <a:gd name="connsiteY0" fmla="*/ 0 h 655694"/>
              <a:gd name="connsiteX1" fmla="*/ 661215 w 792616"/>
              <a:gd name="connsiteY1" fmla="*/ 0 h 655694"/>
              <a:gd name="connsiteX2" fmla="*/ 792616 w 792616"/>
              <a:gd name="connsiteY2" fmla="*/ 327847 h 655694"/>
              <a:gd name="connsiteX3" fmla="*/ 661215 w 792616"/>
              <a:gd name="connsiteY3" fmla="*/ 655694 h 655694"/>
              <a:gd name="connsiteX4" fmla="*/ 0 w 792616"/>
              <a:gd name="connsiteY4" fmla="*/ 655694 h 655694"/>
              <a:gd name="connsiteX5" fmla="*/ 82488 w 792616"/>
              <a:gd name="connsiteY5" fmla="*/ 315428 h 655694"/>
              <a:gd name="connsiteX6" fmla="*/ 0 w 792616"/>
              <a:gd name="connsiteY6" fmla="*/ 0 h 655694"/>
              <a:gd name="connsiteX0" fmla="*/ 0 w 792616"/>
              <a:gd name="connsiteY0" fmla="*/ 0 h 655694"/>
              <a:gd name="connsiteX1" fmla="*/ 661215 w 792616"/>
              <a:gd name="connsiteY1" fmla="*/ 0 h 655694"/>
              <a:gd name="connsiteX2" fmla="*/ 792616 w 792616"/>
              <a:gd name="connsiteY2" fmla="*/ 327847 h 655694"/>
              <a:gd name="connsiteX3" fmla="*/ 661215 w 792616"/>
              <a:gd name="connsiteY3" fmla="*/ 655694 h 655694"/>
              <a:gd name="connsiteX4" fmla="*/ 0 w 792616"/>
              <a:gd name="connsiteY4" fmla="*/ 655694 h 655694"/>
              <a:gd name="connsiteX5" fmla="*/ 63464 w 792616"/>
              <a:gd name="connsiteY5" fmla="*/ 315428 h 655694"/>
              <a:gd name="connsiteX6" fmla="*/ 0 w 792616"/>
              <a:gd name="connsiteY6" fmla="*/ 0 h 655694"/>
              <a:gd name="connsiteX0" fmla="*/ 0 w 742500"/>
              <a:gd name="connsiteY0" fmla="*/ 0 h 655694"/>
              <a:gd name="connsiteX1" fmla="*/ 661215 w 742500"/>
              <a:gd name="connsiteY1" fmla="*/ 0 h 655694"/>
              <a:gd name="connsiteX2" fmla="*/ 742500 w 742500"/>
              <a:gd name="connsiteY2" fmla="*/ 327847 h 655694"/>
              <a:gd name="connsiteX3" fmla="*/ 661215 w 742500"/>
              <a:gd name="connsiteY3" fmla="*/ 655694 h 655694"/>
              <a:gd name="connsiteX4" fmla="*/ 0 w 742500"/>
              <a:gd name="connsiteY4" fmla="*/ 655694 h 655694"/>
              <a:gd name="connsiteX5" fmla="*/ 63464 w 742500"/>
              <a:gd name="connsiteY5" fmla="*/ 315428 h 655694"/>
              <a:gd name="connsiteX6" fmla="*/ 0 w 742500"/>
              <a:gd name="connsiteY6" fmla="*/ 0 h 655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42500" h="655694">
                <a:moveTo>
                  <a:pt x="0" y="0"/>
                </a:moveTo>
                <a:lnTo>
                  <a:pt x="661215" y="0"/>
                </a:lnTo>
                <a:lnTo>
                  <a:pt x="742500" y="327847"/>
                </a:lnTo>
                <a:lnTo>
                  <a:pt x="661215" y="655694"/>
                </a:lnTo>
                <a:lnTo>
                  <a:pt x="0" y="655694"/>
                </a:lnTo>
                <a:lnTo>
                  <a:pt x="63464" y="315428"/>
                </a:lnTo>
                <a:lnTo>
                  <a:pt x="0" y="0"/>
                </a:lnTo>
                <a:close/>
              </a:path>
            </a:pathLst>
          </a:custGeom>
          <a:solidFill>
            <a:srgbClr val="1E86C8"/>
          </a:solidFill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defTabSz="914377">
              <a:defRPr/>
            </a:pPr>
            <a:endParaRPr lang="ru-RU" sz="1300" b="1" kern="0" dirty="0">
              <a:solidFill>
                <a:srgbClr val="000000"/>
              </a:solidFill>
              <a:latin typeface="Arial" panose="020B0604020202020204" pitchFamily="34" charset="0"/>
              <a:sym typeface="Arial"/>
            </a:endParaRPr>
          </a:p>
        </p:txBody>
      </p:sp>
      <p:sp>
        <p:nvSpPr>
          <p:cNvPr id="78" name="Нашивка 16">
            <a:extLst>
              <a:ext uri="{FF2B5EF4-FFF2-40B4-BE49-F238E27FC236}">
                <a16:creationId xmlns:a16="http://schemas.microsoft.com/office/drawing/2014/main" id="{DD8483D7-11CC-4835-8287-6F1FAD37D17F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6190455" y="3909308"/>
            <a:ext cx="792000" cy="432000"/>
          </a:xfrm>
          <a:custGeom>
            <a:avLst/>
            <a:gdLst>
              <a:gd name="connsiteX0" fmla="*/ 0 w 449263"/>
              <a:gd name="connsiteY0" fmla="*/ 0 h 655694"/>
              <a:gd name="connsiteX1" fmla="*/ 290511 w 449263"/>
              <a:gd name="connsiteY1" fmla="*/ 0 h 655694"/>
              <a:gd name="connsiteX2" fmla="*/ 449263 w 449263"/>
              <a:gd name="connsiteY2" fmla="*/ 327847 h 655694"/>
              <a:gd name="connsiteX3" fmla="*/ 290511 w 449263"/>
              <a:gd name="connsiteY3" fmla="*/ 655694 h 655694"/>
              <a:gd name="connsiteX4" fmla="*/ 0 w 449263"/>
              <a:gd name="connsiteY4" fmla="*/ 655694 h 655694"/>
              <a:gd name="connsiteX5" fmla="*/ 158752 w 449263"/>
              <a:gd name="connsiteY5" fmla="*/ 327847 h 655694"/>
              <a:gd name="connsiteX6" fmla="*/ 0 w 449263"/>
              <a:gd name="connsiteY6" fmla="*/ 0 h 655694"/>
              <a:gd name="connsiteX0" fmla="*/ 0 w 449263"/>
              <a:gd name="connsiteY0" fmla="*/ 0 h 655694"/>
              <a:gd name="connsiteX1" fmla="*/ 290511 w 449263"/>
              <a:gd name="connsiteY1" fmla="*/ 0 h 655694"/>
              <a:gd name="connsiteX2" fmla="*/ 449263 w 449263"/>
              <a:gd name="connsiteY2" fmla="*/ 327847 h 655694"/>
              <a:gd name="connsiteX3" fmla="*/ 290511 w 449263"/>
              <a:gd name="connsiteY3" fmla="*/ 655694 h 655694"/>
              <a:gd name="connsiteX4" fmla="*/ 0 w 449263"/>
              <a:gd name="connsiteY4" fmla="*/ 655694 h 655694"/>
              <a:gd name="connsiteX5" fmla="*/ 122557 w 449263"/>
              <a:gd name="connsiteY5" fmla="*/ 325942 h 655694"/>
              <a:gd name="connsiteX6" fmla="*/ 0 w 449263"/>
              <a:gd name="connsiteY6" fmla="*/ 0 h 655694"/>
              <a:gd name="connsiteX0" fmla="*/ 0 w 462598"/>
              <a:gd name="connsiteY0" fmla="*/ 0 h 661409"/>
              <a:gd name="connsiteX1" fmla="*/ 303846 w 462598"/>
              <a:gd name="connsiteY1" fmla="*/ 5715 h 661409"/>
              <a:gd name="connsiteX2" fmla="*/ 462598 w 462598"/>
              <a:gd name="connsiteY2" fmla="*/ 333562 h 661409"/>
              <a:gd name="connsiteX3" fmla="*/ 303846 w 462598"/>
              <a:gd name="connsiteY3" fmla="*/ 661409 h 661409"/>
              <a:gd name="connsiteX4" fmla="*/ 13335 w 462598"/>
              <a:gd name="connsiteY4" fmla="*/ 661409 h 661409"/>
              <a:gd name="connsiteX5" fmla="*/ 135892 w 462598"/>
              <a:gd name="connsiteY5" fmla="*/ 331657 h 661409"/>
              <a:gd name="connsiteX6" fmla="*/ 0 w 462598"/>
              <a:gd name="connsiteY6" fmla="*/ 0 h 661409"/>
              <a:gd name="connsiteX0" fmla="*/ 0 w 462598"/>
              <a:gd name="connsiteY0" fmla="*/ 0 h 655694"/>
              <a:gd name="connsiteX1" fmla="*/ 303846 w 462598"/>
              <a:gd name="connsiteY1" fmla="*/ 0 h 655694"/>
              <a:gd name="connsiteX2" fmla="*/ 462598 w 462598"/>
              <a:gd name="connsiteY2" fmla="*/ 327847 h 655694"/>
              <a:gd name="connsiteX3" fmla="*/ 303846 w 462598"/>
              <a:gd name="connsiteY3" fmla="*/ 655694 h 655694"/>
              <a:gd name="connsiteX4" fmla="*/ 13335 w 462598"/>
              <a:gd name="connsiteY4" fmla="*/ 655694 h 655694"/>
              <a:gd name="connsiteX5" fmla="*/ 135892 w 462598"/>
              <a:gd name="connsiteY5" fmla="*/ 325942 h 655694"/>
              <a:gd name="connsiteX6" fmla="*/ 0 w 462598"/>
              <a:gd name="connsiteY6" fmla="*/ 0 h 655694"/>
              <a:gd name="connsiteX0" fmla="*/ 1905 w 464503"/>
              <a:gd name="connsiteY0" fmla="*/ 0 h 661409"/>
              <a:gd name="connsiteX1" fmla="*/ 305751 w 464503"/>
              <a:gd name="connsiteY1" fmla="*/ 0 h 661409"/>
              <a:gd name="connsiteX2" fmla="*/ 464503 w 464503"/>
              <a:gd name="connsiteY2" fmla="*/ 327847 h 661409"/>
              <a:gd name="connsiteX3" fmla="*/ 305751 w 464503"/>
              <a:gd name="connsiteY3" fmla="*/ 655694 h 661409"/>
              <a:gd name="connsiteX4" fmla="*/ 0 w 464503"/>
              <a:gd name="connsiteY4" fmla="*/ 661409 h 661409"/>
              <a:gd name="connsiteX5" fmla="*/ 137797 w 464503"/>
              <a:gd name="connsiteY5" fmla="*/ 325942 h 661409"/>
              <a:gd name="connsiteX6" fmla="*/ 1905 w 464503"/>
              <a:gd name="connsiteY6" fmla="*/ 0 h 661409"/>
              <a:gd name="connsiteX0" fmla="*/ 3810 w 466408"/>
              <a:gd name="connsiteY0" fmla="*/ 0 h 655694"/>
              <a:gd name="connsiteX1" fmla="*/ 307656 w 466408"/>
              <a:gd name="connsiteY1" fmla="*/ 0 h 655694"/>
              <a:gd name="connsiteX2" fmla="*/ 466408 w 466408"/>
              <a:gd name="connsiteY2" fmla="*/ 327847 h 655694"/>
              <a:gd name="connsiteX3" fmla="*/ 307656 w 466408"/>
              <a:gd name="connsiteY3" fmla="*/ 655694 h 655694"/>
              <a:gd name="connsiteX4" fmla="*/ 0 w 466408"/>
              <a:gd name="connsiteY4" fmla="*/ 653789 h 655694"/>
              <a:gd name="connsiteX5" fmla="*/ 139702 w 466408"/>
              <a:gd name="connsiteY5" fmla="*/ 325942 h 655694"/>
              <a:gd name="connsiteX6" fmla="*/ 3810 w 466408"/>
              <a:gd name="connsiteY6" fmla="*/ 0 h 655694"/>
              <a:gd name="connsiteX0" fmla="*/ 3810 w 466408"/>
              <a:gd name="connsiteY0" fmla="*/ 1905 h 657599"/>
              <a:gd name="connsiteX1" fmla="*/ 330516 w 466408"/>
              <a:gd name="connsiteY1" fmla="*/ 0 h 657599"/>
              <a:gd name="connsiteX2" fmla="*/ 466408 w 466408"/>
              <a:gd name="connsiteY2" fmla="*/ 329752 h 657599"/>
              <a:gd name="connsiteX3" fmla="*/ 307656 w 466408"/>
              <a:gd name="connsiteY3" fmla="*/ 657599 h 657599"/>
              <a:gd name="connsiteX4" fmla="*/ 0 w 466408"/>
              <a:gd name="connsiteY4" fmla="*/ 655694 h 657599"/>
              <a:gd name="connsiteX5" fmla="*/ 139702 w 466408"/>
              <a:gd name="connsiteY5" fmla="*/ 327847 h 657599"/>
              <a:gd name="connsiteX6" fmla="*/ 3810 w 466408"/>
              <a:gd name="connsiteY6" fmla="*/ 1905 h 657599"/>
              <a:gd name="connsiteX0" fmla="*/ 3810 w 466408"/>
              <a:gd name="connsiteY0" fmla="*/ 1905 h 657599"/>
              <a:gd name="connsiteX1" fmla="*/ 330516 w 466408"/>
              <a:gd name="connsiteY1" fmla="*/ 0 h 657599"/>
              <a:gd name="connsiteX2" fmla="*/ 466408 w 466408"/>
              <a:gd name="connsiteY2" fmla="*/ 329752 h 657599"/>
              <a:gd name="connsiteX3" fmla="*/ 307656 w 466408"/>
              <a:gd name="connsiteY3" fmla="*/ 657599 h 657599"/>
              <a:gd name="connsiteX4" fmla="*/ 0 w 466408"/>
              <a:gd name="connsiteY4" fmla="*/ 655694 h 657599"/>
              <a:gd name="connsiteX5" fmla="*/ 123159 w 466408"/>
              <a:gd name="connsiteY5" fmla="*/ 327847 h 657599"/>
              <a:gd name="connsiteX6" fmla="*/ 3810 w 466408"/>
              <a:gd name="connsiteY6" fmla="*/ 1905 h 657599"/>
              <a:gd name="connsiteX0" fmla="*/ 3810 w 466408"/>
              <a:gd name="connsiteY0" fmla="*/ 1905 h 657599"/>
              <a:gd name="connsiteX1" fmla="*/ 330516 w 466408"/>
              <a:gd name="connsiteY1" fmla="*/ 0 h 657599"/>
              <a:gd name="connsiteX2" fmla="*/ 466408 w 466408"/>
              <a:gd name="connsiteY2" fmla="*/ 329752 h 657599"/>
              <a:gd name="connsiteX3" fmla="*/ 307656 w 466408"/>
              <a:gd name="connsiteY3" fmla="*/ 657599 h 657599"/>
              <a:gd name="connsiteX4" fmla="*/ 0 w 466408"/>
              <a:gd name="connsiteY4" fmla="*/ 655694 h 657599"/>
              <a:gd name="connsiteX5" fmla="*/ 79561 w 466408"/>
              <a:gd name="connsiteY5" fmla="*/ 335095 h 657599"/>
              <a:gd name="connsiteX6" fmla="*/ 3810 w 466408"/>
              <a:gd name="connsiteY6" fmla="*/ 1905 h 657599"/>
              <a:gd name="connsiteX0" fmla="*/ 3810 w 403856"/>
              <a:gd name="connsiteY0" fmla="*/ 1905 h 657599"/>
              <a:gd name="connsiteX1" fmla="*/ 330516 w 403856"/>
              <a:gd name="connsiteY1" fmla="*/ 0 h 657599"/>
              <a:gd name="connsiteX2" fmla="*/ 403856 w 403856"/>
              <a:gd name="connsiteY2" fmla="*/ 318879 h 657599"/>
              <a:gd name="connsiteX3" fmla="*/ 307656 w 403856"/>
              <a:gd name="connsiteY3" fmla="*/ 657599 h 657599"/>
              <a:gd name="connsiteX4" fmla="*/ 0 w 403856"/>
              <a:gd name="connsiteY4" fmla="*/ 655694 h 657599"/>
              <a:gd name="connsiteX5" fmla="*/ 79561 w 403856"/>
              <a:gd name="connsiteY5" fmla="*/ 335095 h 657599"/>
              <a:gd name="connsiteX6" fmla="*/ 3810 w 403856"/>
              <a:gd name="connsiteY6" fmla="*/ 1905 h 657599"/>
              <a:gd name="connsiteX0" fmla="*/ 3810 w 415229"/>
              <a:gd name="connsiteY0" fmla="*/ 1905 h 657599"/>
              <a:gd name="connsiteX1" fmla="*/ 330516 w 415229"/>
              <a:gd name="connsiteY1" fmla="*/ 0 h 657599"/>
              <a:gd name="connsiteX2" fmla="*/ 415229 w 415229"/>
              <a:gd name="connsiteY2" fmla="*/ 315253 h 657599"/>
              <a:gd name="connsiteX3" fmla="*/ 307656 w 415229"/>
              <a:gd name="connsiteY3" fmla="*/ 657599 h 657599"/>
              <a:gd name="connsiteX4" fmla="*/ 0 w 415229"/>
              <a:gd name="connsiteY4" fmla="*/ 655694 h 657599"/>
              <a:gd name="connsiteX5" fmla="*/ 79561 w 415229"/>
              <a:gd name="connsiteY5" fmla="*/ 335095 h 657599"/>
              <a:gd name="connsiteX6" fmla="*/ 3810 w 415229"/>
              <a:gd name="connsiteY6" fmla="*/ 1905 h 657599"/>
              <a:gd name="connsiteX0" fmla="*/ 3810 w 409542"/>
              <a:gd name="connsiteY0" fmla="*/ 1905 h 657599"/>
              <a:gd name="connsiteX1" fmla="*/ 330516 w 409542"/>
              <a:gd name="connsiteY1" fmla="*/ 0 h 657599"/>
              <a:gd name="connsiteX2" fmla="*/ 409542 w 409542"/>
              <a:gd name="connsiteY2" fmla="*/ 344252 h 657599"/>
              <a:gd name="connsiteX3" fmla="*/ 307656 w 409542"/>
              <a:gd name="connsiteY3" fmla="*/ 657599 h 657599"/>
              <a:gd name="connsiteX4" fmla="*/ 0 w 409542"/>
              <a:gd name="connsiteY4" fmla="*/ 655694 h 657599"/>
              <a:gd name="connsiteX5" fmla="*/ 79561 w 409542"/>
              <a:gd name="connsiteY5" fmla="*/ 335095 h 657599"/>
              <a:gd name="connsiteX6" fmla="*/ 3810 w 409542"/>
              <a:gd name="connsiteY6" fmla="*/ 1905 h 657599"/>
              <a:gd name="connsiteX0" fmla="*/ 3810 w 409542"/>
              <a:gd name="connsiteY0" fmla="*/ 1905 h 657599"/>
              <a:gd name="connsiteX1" fmla="*/ 330516 w 409542"/>
              <a:gd name="connsiteY1" fmla="*/ 0 h 657599"/>
              <a:gd name="connsiteX2" fmla="*/ 409542 w 409542"/>
              <a:gd name="connsiteY2" fmla="*/ 337001 h 657599"/>
              <a:gd name="connsiteX3" fmla="*/ 307656 w 409542"/>
              <a:gd name="connsiteY3" fmla="*/ 657599 h 657599"/>
              <a:gd name="connsiteX4" fmla="*/ 0 w 409542"/>
              <a:gd name="connsiteY4" fmla="*/ 655694 h 657599"/>
              <a:gd name="connsiteX5" fmla="*/ 79561 w 409542"/>
              <a:gd name="connsiteY5" fmla="*/ 335095 h 657599"/>
              <a:gd name="connsiteX6" fmla="*/ 3810 w 409542"/>
              <a:gd name="connsiteY6" fmla="*/ 1905 h 657599"/>
              <a:gd name="connsiteX0" fmla="*/ 3810 w 409542"/>
              <a:gd name="connsiteY0" fmla="*/ 1905 h 657599"/>
              <a:gd name="connsiteX1" fmla="*/ 330516 w 409542"/>
              <a:gd name="connsiteY1" fmla="*/ 0 h 657599"/>
              <a:gd name="connsiteX2" fmla="*/ 409542 w 409542"/>
              <a:gd name="connsiteY2" fmla="*/ 337001 h 657599"/>
              <a:gd name="connsiteX3" fmla="*/ 330403 w 409542"/>
              <a:gd name="connsiteY3" fmla="*/ 657599 h 657599"/>
              <a:gd name="connsiteX4" fmla="*/ 0 w 409542"/>
              <a:gd name="connsiteY4" fmla="*/ 655694 h 657599"/>
              <a:gd name="connsiteX5" fmla="*/ 79561 w 409542"/>
              <a:gd name="connsiteY5" fmla="*/ 335095 h 657599"/>
              <a:gd name="connsiteX6" fmla="*/ 3810 w 409542"/>
              <a:gd name="connsiteY6" fmla="*/ 1905 h 657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542" h="657599">
                <a:moveTo>
                  <a:pt x="3810" y="1905"/>
                </a:moveTo>
                <a:lnTo>
                  <a:pt x="330516" y="0"/>
                </a:lnTo>
                <a:lnTo>
                  <a:pt x="409542" y="337001"/>
                </a:lnTo>
                <a:lnTo>
                  <a:pt x="330403" y="657599"/>
                </a:lnTo>
                <a:lnTo>
                  <a:pt x="0" y="655694"/>
                </a:lnTo>
                <a:lnTo>
                  <a:pt x="79561" y="335095"/>
                </a:lnTo>
                <a:lnTo>
                  <a:pt x="3810" y="1905"/>
                </a:lnTo>
                <a:close/>
              </a:path>
            </a:pathLst>
          </a:custGeom>
          <a:solidFill>
            <a:srgbClr val="00B050"/>
          </a:solidFill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defTabSz="914377">
              <a:defRPr/>
            </a:pPr>
            <a:endParaRPr lang="ru-RU" sz="1300" b="1" kern="0" dirty="0">
              <a:solidFill>
                <a:prstClr val="white"/>
              </a:solidFill>
              <a:latin typeface="Arial" panose="020B0604020202020204" pitchFamily="34" charset="0"/>
              <a:sym typeface="Arial"/>
            </a:endParaRPr>
          </a:p>
        </p:txBody>
      </p:sp>
      <p:sp>
        <p:nvSpPr>
          <p:cNvPr id="79" name="Пятиугольник 36">
            <a:extLst>
              <a:ext uri="{FF2B5EF4-FFF2-40B4-BE49-F238E27FC236}">
                <a16:creationId xmlns:a16="http://schemas.microsoft.com/office/drawing/2014/main" id="{F4C99C70-2227-4945-A93B-FB1DC04B218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263771" y="3909307"/>
            <a:ext cx="3888000" cy="432000"/>
          </a:xfrm>
          <a:prstGeom prst="homePlate">
            <a:avLst>
              <a:gd name="adj" fmla="val 18330"/>
            </a:avLst>
          </a:prstGeom>
          <a:solidFill>
            <a:srgbClr val="CA3568"/>
          </a:solidFill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defTabSz="914377">
              <a:defRPr/>
            </a:pPr>
            <a:endParaRPr lang="ru-RU" sz="1300" b="1" kern="0" dirty="0">
              <a:solidFill>
                <a:prstClr val="white"/>
              </a:solidFill>
              <a:latin typeface="Arial" panose="020B0604020202020204" pitchFamily="34" charset="0"/>
              <a:sym typeface="Arial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AC7BEFA-FEB4-46E0-9E35-DC3D487018F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776187" y="3985380"/>
            <a:ext cx="637355" cy="281387"/>
          </a:xfrm>
          <a:prstGeom prst="rect">
            <a:avLst/>
          </a:prstGeom>
          <a:noFill/>
        </p:spPr>
        <p:txBody>
          <a:bodyPr wrap="square" lIns="65307" tIns="32653" rIns="65307" bIns="32653" rtlCol="0">
            <a:spAutoFit/>
          </a:bodyPr>
          <a:lstStyle/>
          <a:p>
            <a:pPr algn="ctr" defTabSz="914377">
              <a:defRPr/>
            </a:pPr>
            <a:r>
              <a:rPr lang="ru-RU" sz="1400" b="1" kern="0" dirty="0">
                <a:solidFill>
                  <a:prstClr val="white"/>
                </a:solidFill>
                <a:latin typeface="Arial" panose="020B0604020202020204" pitchFamily="34" charset="0"/>
              </a:rPr>
              <a:t>85%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965BFDB-4AA7-4636-A859-985FC50E929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298309" y="3985380"/>
            <a:ext cx="637355" cy="281387"/>
          </a:xfrm>
          <a:prstGeom prst="rect">
            <a:avLst/>
          </a:prstGeom>
          <a:noFill/>
        </p:spPr>
        <p:txBody>
          <a:bodyPr wrap="square" lIns="65307" tIns="32653" rIns="65307" bIns="32653" rtlCol="0">
            <a:spAutoFit/>
          </a:bodyPr>
          <a:lstStyle/>
          <a:p>
            <a:pPr algn="ctr" defTabSz="914377">
              <a:defRPr/>
            </a:pPr>
            <a:r>
              <a:rPr lang="ru-RU" sz="1400" b="1" kern="0" dirty="0">
                <a:solidFill>
                  <a:prstClr val="white"/>
                </a:solidFill>
                <a:latin typeface="Arial" panose="020B0604020202020204" pitchFamily="34" charset="0"/>
              </a:rPr>
              <a:t>10%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4DB4094-B032-4658-88EB-5D21ADAB7D9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344197" y="3985380"/>
            <a:ext cx="511107" cy="281387"/>
          </a:xfrm>
          <a:prstGeom prst="rect">
            <a:avLst/>
          </a:prstGeom>
          <a:noFill/>
        </p:spPr>
        <p:txBody>
          <a:bodyPr wrap="square" lIns="65307" tIns="32653" rIns="65307" bIns="32653" rtlCol="0">
            <a:spAutoFit/>
          </a:bodyPr>
          <a:lstStyle/>
          <a:p>
            <a:pPr algn="ctr" defTabSz="914377">
              <a:defRPr/>
            </a:pPr>
            <a:r>
              <a:rPr lang="ru-RU" sz="1400" b="1" kern="0" dirty="0">
                <a:solidFill>
                  <a:prstClr val="white"/>
                </a:solidFill>
                <a:latin typeface="Arial" panose="020B0604020202020204" pitchFamily="34" charset="0"/>
              </a:rPr>
              <a:t>5%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ED0FE23-FE18-435E-A1D9-44B80F65B3D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516915" y="4734571"/>
            <a:ext cx="637355" cy="281387"/>
          </a:xfrm>
          <a:prstGeom prst="rect">
            <a:avLst/>
          </a:prstGeom>
          <a:noFill/>
        </p:spPr>
        <p:txBody>
          <a:bodyPr wrap="square" lIns="65307" tIns="32653" rIns="65307" bIns="32653" rtlCol="0">
            <a:spAutoFit/>
          </a:bodyPr>
          <a:lstStyle/>
          <a:p>
            <a:pPr algn="ctr" defTabSz="914377">
              <a:defRPr/>
            </a:pPr>
            <a:r>
              <a:rPr lang="ru-RU" sz="1400" b="1" kern="0" dirty="0">
                <a:solidFill>
                  <a:prstClr val="white"/>
                </a:solidFill>
                <a:latin typeface="Arial" panose="020B0604020202020204" pitchFamily="34" charset="0"/>
              </a:rPr>
              <a:t>20%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8072A65-39EC-496A-AAF0-0983867078A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657189" y="4744063"/>
            <a:ext cx="637355" cy="281387"/>
          </a:xfrm>
          <a:prstGeom prst="rect">
            <a:avLst/>
          </a:prstGeom>
          <a:noFill/>
        </p:spPr>
        <p:txBody>
          <a:bodyPr wrap="square" lIns="65307" tIns="32653" rIns="65307" bIns="32653" rtlCol="0">
            <a:spAutoFit/>
          </a:bodyPr>
          <a:lstStyle/>
          <a:p>
            <a:pPr algn="ctr" defTabSz="914377">
              <a:defRPr/>
            </a:pPr>
            <a:r>
              <a:rPr lang="ru-RU" sz="1400" b="1" kern="0" dirty="0">
                <a:solidFill>
                  <a:prstClr val="white"/>
                </a:solidFill>
                <a:latin typeface="Arial" panose="020B0604020202020204" pitchFamily="34" charset="0"/>
              </a:rPr>
              <a:t>10%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0A0B1A8-25EB-40F0-A3FF-03B29283FB2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11961" y="4723863"/>
            <a:ext cx="511107" cy="281387"/>
          </a:xfrm>
          <a:prstGeom prst="rect">
            <a:avLst/>
          </a:prstGeom>
          <a:noFill/>
        </p:spPr>
        <p:txBody>
          <a:bodyPr wrap="square" lIns="65307" tIns="32653" rIns="65307" bIns="32653" rtlCol="0">
            <a:spAutoFit/>
          </a:bodyPr>
          <a:lstStyle/>
          <a:p>
            <a:pPr algn="ctr" defTabSz="914377">
              <a:defRPr/>
            </a:pPr>
            <a:r>
              <a:rPr lang="ru-RU" sz="1400" b="1" kern="0" dirty="0">
                <a:solidFill>
                  <a:prstClr val="white"/>
                </a:solidFill>
                <a:latin typeface="Arial" panose="020B0604020202020204" pitchFamily="34" charset="0"/>
              </a:rPr>
              <a:t>70%</a:t>
            </a:r>
          </a:p>
        </p:txBody>
      </p:sp>
      <p:sp>
        <p:nvSpPr>
          <p:cNvPr id="86" name="Shape 119">
            <a:extLst>
              <a:ext uri="{FF2B5EF4-FFF2-40B4-BE49-F238E27FC236}">
                <a16:creationId xmlns:a16="http://schemas.microsoft.com/office/drawing/2014/main" id="{691191FD-FF48-4243-8EC3-ED995F5C9183}"/>
              </a:ext>
            </a:extLst>
          </p:cNvPr>
          <p:cNvSpPr txBox="1"/>
          <p:nvPr/>
        </p:nvSpPr>
        <p:spPr>
          <a:xfrm rot="16200000">
            <a:off x="918801" y="3984918"/>
            <a:ext cx="347664" cy="230963"/>
          </a:xfrm>
          <a:prstGeom prst="rect">
            <a:avLst/>
          </a:prstGeom>
          <a:noFill/>
        </p:spPr>
        <p:txBody>
          <a:bodyPr wrap="square" lIns="68580" tIns="34291" rIns="68580" bIns="34291">
            <a:spAutoFit/>
          </a:bodyPr>
          <a:lstStyle/>
          <a:p>
            <a:pPr defTabSz="685783"/>
            <a:r>
              <a:rPr lang="ru-RU" sz="1051" dirty="0">
                <a:solidFill>
                  <a:srgbClr val="8FAADC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До </a:t>
            </a:r>
            <a:endParaRPr sz="1051" dirty="0">
              <a:solidFill>
                <a:srgbClr val="8FAADC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87" name="Shape 119">
            <a:extLst>
              <a:ext uri="{FF2B5EF4-FFF2-40B4-BE49-F238E27FC236}">
                <a16:creationId xmlns:a16="http://schemas.microsoft.com/office/drawing/2014/main" id="{61C9F728-4B1C-48D8-B00A-B02C5D5BF3AD}"/>
              </a:ext>
            </a:extLst>
          </p:cNvPr>
          <p:cNvSpPr txBox="1"/>
          <p:nvPr/>
        </p:nvSpPr>
        <p:spPr>
          <a:xfrm rot="16200000">
            <a:off x="841413" y="4759145"/>
            <a:ext cx="553656" cy="230963"/>
          </a:xfrm>
          <a:prstGeom prst="rect">
            <a:avLst/>
          </a:prstGeom>
          <a:noFill/>
        </p:spPr>
        <p:txBody>
          <a:bodyPr wrap="square" lIns="68580" tIns="34291" rIns="68580" bIns="34291">
            <a:spAutoFit/>
          </a:bodyPr>
          <a:lstStyle/>
          <a:p>
            <a:pPr defTabSz="685783"/>
            <a:r>
              <a:rPr lang="ru-RU" sz="1051" dirty="0">
                <a:solidFill>
                  <a:srgbClr val="233B67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После</a:t>
            </a:r>
            <a:endParaRPr sz="1051" dirty="0">
              <a:solidFill>
                <a:srgbClr val="233B67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graphicFrame>
        <p:nvGraphicFramePr>
          <p:cNvPr id="88" name="Таблица 2">
            <a:extLst>
              <a:ext uri="{FF2B5EF4-FFF2-40B4-BE49-F238E27FC236}">
                <a16:creationId xmlns:a16="http://schemas.microsoft.com/office/drawing/2014/main" id="{3BEAC6FA-5CE2-40A8-AA8E-E7BBC9137762}"/>
              </a:ext>
            </a:extLst>
          </p:cNvPr>
          <p:cNvGraphicFramePr>
            <a:graphicFrameLocks noGrp="1"/>
          </p:cNvGraphicFramePr>
          <p:nvPr/>
        </p:nvGraphicFramePr>
        <p:xfrm>
          <a:off x="1177395" y="5221544"/>
          <a:ext cx="6279996" cy="12242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044781">
                  <a:extLst>
                    <a:ext uri="{9D8B030D-6E8A-4147-A177-3AD203B41FA5}">
                      <a16:colId xmlns:a16="http://schemas.microsoft.com/office/drawing/2014/main" val="3128509776"/>
                    </a:ext>
                  </a:extLst>
                </a:gridCol>
                <a:gridCol w="4235215">
                  <a:extLst>
                    <a:ext uri="{9D8B030D-6E8A-4147-A177-3AD203B41FA5}">
                      <a16:colId xmlns:a16="http://schemas.microsoft.com/office/drawing/2014/main" val="868042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rgbClr val="1E86C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ТЕРИ</a:t>
                      </a:r>
                      <a:endParaRPr lang="ru-RU" sz="800" b="1" dirty="0">
                        <a:solidFill>
                          <a:srgbClr val="1E86C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86C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, которая не добавляет ценности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E86C8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5488354"/>
                  </a:ext>
                </a:extLst>
              </a:tr>
              <a:tr h="4165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1E86C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ЗНАЧИМАЯ РАБОТА</a:t>
                      </a:r>
                      <a:endParaRPr lang="ru-RU" sz="1100" b="1" kern="1200" dirty="0">
                        <a:solidFill>
                          <a:srgbClr val="1E86C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86C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 добавляет ценности, но при текущем состоянии производства без нее обойтись невозможно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E86C8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9528136"/>
                  </a:ext>
                </a:extLst>
              </a:tr>
              <a:tr h="4165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1E86C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ИМАЯ РАБОТА</a:t>
                      </a:r>
                      <a:endParaRPr lang="ru-RU" sz="1100" b="1" kern="1200" dirty="0">
                        <a:solidFill>
                          <a:srgbClr val="1E86C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86C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, которую необходимо выполнять для обеспечения требований Заказчика. Работа, добавляющая ценность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E86C8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5521629"/>
                  </a:ext>
                </a:extLst>
              </a:tr>
            </a:tbl>
          </a:graphicData>
        </a:graphic>
      </p:graphicFrame>
      <p:sp>
        <p:nvSpPr>
          <p:cNvPr id="89" name="Стрелка: вниз 88">
            <a:extLst>
              <a:ext uri="{FF2B5EF4-FFF2-40B4-BE49-F238E27FC236}">
                <a16:creationId xmlns:a16="http://schemas.microsoft.com/office/drawing/2014/main" id="{3436A691-F92B-4D40-8DFD-36B84CC1AA17}"/>
              </a:ext>
            </a:extLst>
          </p:cNvPr>
          <p:cNvSpPr/>
          <p:nvPr/>
        </p:nvSpPr>
        <p:spPr>
          <a:xfrm>
            <a:off x="2209162" y="4409353"/>
            <a:ext cx="274581" cy="201185"/>
          </a:xfrm>
          <a:prstGeom prst="downArrow">
            <a:avLst/>
          </a:prstGeom>
          <a:solidFill>
            <a:srgbClr val="D6DCE5"/>
          </a:solidFill>
          <a:ln>
            <a:solidFill>
              <a:srgbClr val="8FAA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90" name="Стрелка: вниз 89">
            <a:extLst>
              <a:ext uri="{FF2B5EF4-FFF2-40B4-BE49-F238E27FC236}">
                <a16:creationId xmlns:a16="http://schemas.microsoft.com/office/drawing/2014/main" id="{33C5C6AB-7004-4771-B647-E42284F47262}"/>
              </a:ext>
            </a:extLst>
          </p:cNvPr>
          <p:cNvSpPr/>
          <p:nvPr/>
        </p:nvSpPr>
        <p:spPr>
          <a:xfrm>
            <a:off x="3916555" y="4409353"/>
            <a:ext cx="274581" cy="201185"/>
          </a:xfrm>
          <a:prstGeom prst="downArrow">
            <a:avLst/>
          </a:prstGeom>
          <a:solidFill>
            <a:srgbClr val="D6DCE5"/>
          </a:solidFill>
          <a:ln>
            <a:solidFill>
              <a:srgbClr val="8FAA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91" name="Стрелка: вниз 90">
            <a:extLst>
              <a:ext uri="{FF2B5EF4-FFF2-40B4-BE49-F238E27FC236}">
                <a16:creationId xmlns:a16="http://schemas.microsoft.com/office/drawing/2014/main" id="{0B82EBB5-27A0-41D4-8F74-43D0B96435D9}"/>
              </a:ext>
            </a:extLst>
          </p:cNvPr>
          <p:cNvSpPr/>
          <p:nvPr/>
        </p:nvSpPr>
        <p:spPr>
          <a:xfrm>
            <a:off x="5841268" y="4409353"/>
            <a:ext cx="274581" cy="201185"/>
          </a:xfrm>
          <a:prstGeom prst="downArrow">
            <a:avLst/>
          </a:prstGeom>
          <a:solidFill>
            <a:srgbClr val="D6DCE5"/>
          </a:solidFill>
          <a:ln>
            <a:solidFill>
              <a:srgbClr val="8FAA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BDC5D986-6E26-4918-993D-EB20CFA87AD7}"/>
              </a:ext>
            </a:extLst>
          </p:cNvPr>
          <p:cNvSpPr/>
          <p:nvPr/>
        </p:nvSpPr>
        <p:spPr>
          <a:xfrm>
            <a:off x="973371" y="3773093"/>
            <a:ext cx="6402413" cy="2610716"/>
          </a:xfrm>
          <a:prstGeom prst="rect">
            <a:avLst/>
          </a:prstGeom>
          <a:noFill/>
          <a:ln>
            <a:solidFill>
              <a:srgbClr val="8FAAD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1097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Коллекция карт">
            <a:extLst>
              <a:ext uri="{FF2B5EF4-FFF2-40B4-BE49-F238E27FC236}">
                <a16:creationId xmlns:a16="http://schemas.microsoft.com/office/drawing/2014/main" id="{12ADE544-1588-4B9A-B655-609A5999BB14}"/>
              </a:ext>
            </a:extLst>
          </p:cNvPr>
          <p:cNvSpPr txBox="1">
            <a:spLocks/>
          </p:cNvSpPr>
          <p:nvPr/>
        </p:nvSpPr>
        <p:spPr>
          <a:xfrm>
            <a:off x="481137" y="350292"/>
            <a:ext cx="10581727" cy="461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>
            <a:defPPr>
              <a:defRPr lang="en-US"/>
            </a:defPPr>
            <a:lvl1pPr defTabSz="914354" eaLnBrk="1" fontAlgn="auto">
              <a:spcBef>
                <a:spcPts val="0"/>
              </a:spcBef>
              <a:spcAft>
                <a:spcPts val="0"/>
              </a:spcAft>
              <a:defRPr sz="2100" b="1" kern="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0" marR="0" indent="4572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9144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13716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18288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22860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27432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32004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36576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defTabSz="1219108" hangingPunct="0"/>
            <a:r>
              <a:rPr lang="ru-RU" sz="2667" dirty="0"/>
              <a:t>Принципы бережливого производства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8E044859-0E5C-4FA7-AA98-698AF937DA8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0985" y="1745668"/>
            <a:ext cx="917367" cy="932035"/>
          </a:xfrm>
          <a:prstGeom prst="ellipse">
            <a:avLst/>
          </a:prstGeom>
        </p:spPr>
      </p:pic>
      <p:pic>
        <p:nvPicPr>
          <p:cNvPr id="19" name="Рисунок 10">
            <a:extLst>
              <a:ext uri="{FF2B5EF4-FFF2-40B4-BE49-F238E27FC236}">
                <a16:creationId xmlns:a16="http://schemas.microsoft.com/office/drawing/2014/main" id="{D5FC1DDE-FB09-48C5-8FC3-74E36DBF34D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626" y="2369235"/>
            <a:ext cx="931415" cy="928159"/>
          </a:xfrm>
          <a:prstGeom prst="ellipse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A350F0E-A18F-4E4F-BAB5-E57699EC28C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774" y="3102344"/>
            <a:ext cx="931415" cy="910707"/>
          </a:xfrm>
          <a:prstGeom prst="ellipse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59D8DC3F-713A-4553-B5E9-6E12A02BBF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773" y="3784485"/>
            <a:ext cx="936307" cy="928159"/>
          </a:xfrm>
          <a:prstGeom prst="ellipse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BF17A31A-1A5B-4B27-BB9E-E8E1782C91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169" y="2031631"/>
            <a:ext cx="1015919" cy="924053"/>
          </a:xfrm>
          <a:prstGeom prst="ellipse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B91C48BE-706C-4866-97A0-6BD6F35D1F3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73255" y="2067742"/>
            <a:ext cx="956180" cy="927364"/>
          </a:xfrm>
          <a:prstGeom prst="ellipse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6A87B080-8DDC-4C7A-879D-7DF99AA9225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88159" y="2850934"/>
            <a:ext cx="956180" cy="1007937"/>
          </a:xfrm>
          <a:prstGeom prst="ellipse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B670FC6-66E1-4391-B532-099F95C3683A}"/>
              </a:ext>
            </a:extLst>
          </p:cNvPr>
          <p:cNvSpPr/>
          <p:nvPr/>
        </p:nvSpPr>
        <p:spPr>
          <a:xfrm>
            <a:off x="1619554" y="1677894"/>
            <a:ext cx="1993561" cy="33855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1219140">
              <a:defRPr/>
            </a:pPr>
            <a:r>
              <a:rPr lang="ru-RU" altLang="ja-JP" sz="1600" b="1" dirty="0">
                <a:solidFill>
                  <a:srgbClr val="CA3568"/>
                </a:solidFill>
                <a:latin typeface="Verdana"/>
                <a:ea typeface="Verdana"/>
                <a:cs typeface="Verdana"/>
              </a:rPr>
              <a:t>ПОТЕРИ</a:t>
            </a:r>
            <a:endParaRPr lang="ru-RU" sz="1600" kern="0" dirty="0">
              <a:solidFill>
                <a:srgbClr val="CA3568"/>
              </a:solidFill>
              <a:latin typeface="Verdana"/>
              <a:ea typeface="Verdana"/>
              <a:cs typeface="Arial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492781C0-FE2A-4E55-B292-44741BEEE1E6}"/>
              </a:ext>
            </a:extLst>
          </p:cNvPr>
          <p:cNvSpPr/>
          <p:nvPr/>
        </p:nvSpPr>
        <p:spPr>
          <a:xfrm>
            <a:off x="4613253" y="1685311"/>
            <a:ext cx="3269907" cy="33855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1219140">
              <a:defRPr/>
            </a:pPr>
            <a:r>
              <a:rPr lang="ru-RU" sz="1600" b="1" dirty="0">
                <a:solidFill>
                  <a:srgbClr val="1E86C8"/>
                </a:solidFill>
                <a:latin typeface="Verdana"/>
                <a:ea typeface="Verdana"/>
                <a:cs typeface="Verdana"/>
              </a:rPr>
              <a:t>РЕЗЕРВЫ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437BC95-1D96-4CD7-B241-344D97385E68}"/>
              </a:ext>
            </a:extLst>
          </p:cNvPr>
          <p:cNvSpPr/>
          <p:nvPr/>
        </p:nvSpPr>
        <p:spPr>
          <a:xfrm>
            <a:off x="8346007" y="1685311"/>
            <a:ext cx="3499260" cy="58477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1219140">
              <a:defRPr/>
            </a:pPr>
            <a:r>
              <a:rPr lang="ru-RU" sz="1600" b="1" dirty="0">
                <a:solidFill>
                  <a:srgbClr val="00B050"/>
                </a:solidFill>
                <a:latin typeface="Verdana"/>
                <a:ea typeface="Verdana"/>
                <a:cs typeface="Verdana"/>
              </a:rPr>
              <a:t>Интеллектуальный</a:t>
            </a:r>
          </a:p>
          <a:p>
            <a:pPr algn="ctr" defTabSz="1219140">
              <a:defRPr/>
            </a:pPr>
            <a:r>
              <a:rPr lang="ru-RU" sz="1600" b="1" dirty="0">
                <a:solidFill>
                  <a:srgbClr val="00B050"/>
                </a:solidFill>
                <a:latin typeface="Verdana"/>
                <a:ea typeface="Verdana"/>
                <a:cs typeface="Verdana"/>
              </a:rPr>
              <a:t>ПОТЕНЦИАЛ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F3E45F3C-D529-4DF9-BED4-D4A1AD1B0B7C}"/>
              </a:ext>
            </a:extLst>
          </p:cNvPr>
          <p:cNvSpPr/>
          <p:nvPr/>
        </p:nvSpPr>
        <p:spPr>
          <a:xfrm>
            <a:off x="7599461" y="6049851"/>
            <a:ext cx="444268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1219140">
              <a:defRPr/>
            </a:pPr>
            <a:r>
              <a:rPr lang="ru-RU" sz="1600" b="1" cap="all" dirty="0">
                <a:solidFill>
                  <a:srgbClr val="00B050"/>
                </a:solidFill>
                <a:latin typeface="Verdana"/>
                <a:ea typeface="Verdana"/>
                <a:cs typeface="Verdana"/>
              </a:rPr>
              <a:t>Мобилизации потенциала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1E0FB46-EE1F-4AE2-93D7-E89875C54EA5}"/>
              </a:ext>
            </a:extLst>
          </p:cNvPr>
          <p:cNvSpPr/>
          <p:nvPr/>
        </p:nvSpPr>
        <p:spPr>
          <a:xfrm>
            <a:off x="4354733" y="6077484"/>
            <a:ext cx="2834537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1219140">
              <a:defRPr/>
            </a:pPr>
            <a:r>
              <a:rPr lang="ru-RU" sz="1600" b="1" dirty="0">
                <a:solidFill>
                  <a:srgbClr val="1E86C8"/>
                </a:solidFill>
                <a:latin typeface="Verdana"/>
                <a:ea typeface="Verdana"/>
                <a:cs typeface="Verdana"/>
              </a:rPr>
              <a:t>ВСКРЫТИЯ РЕЗЕРВОВ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8CABAE2D-2E8A-40D9-8A5A-30F4384A1877}"/>
              </a:ext>
            </a:extLst>
          </p:cNvPr>
          <p:cNvSpPr/>
          <p:nvPr/>
        </p:nvSpPr>
        <p:spPr>
          <a:xfrm>
            <a:off x="653687" y="6069968"/>
            <a:ext cx="2815300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1219140">
              <a:defRPr/>
            </a:pPr>
            <a:r>
              <a:rPr lang="ru-RU" sz="1600" b="1" dirty="0">
                <a:solidFill>
                  <a:srgbClr val="CA3568"/>
                </a:solidFill>
                <a:latin typeface="Verdana"/>
                <a:ea typeface="Verdana"/>
                <a:cs typeface="Verdana"/>
              </a:rPr>
              <a:t>УСТРАНЕНИЯ ПОТЕРЬ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507FE5FC-9E37-47EF-A740-C414FD2A361F}"/>
              </a:ext>
            </a:extLst>
          </p:cNvPr>
          <p:cNvSpPr/>
          <p:nvPr/>
        </p:nvSpPr>
        <p:spPr>
          <a:xfrm>
            <a:off x="3740319" y="6048359"/>
            <a:ext cx="449300" cy="33855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1219140">
              <a:defRPr/>
            </a:pPr>
            <a:r>
              <a:rPr lang="ru-RU" sz="1600" b="1" dirty="0">
                <a:solidFill>
                  <a:srgbClr val="0070C0"/>
                </a:solidFill>
                <a:latin typeface="Verdana"/>
                <a:ea typeface="Verdana"/>
                <a:cs typeface="Verdana"/>
              </a:rPr>
              <a:t>+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14A5DA51-1030-4466-8B84-5CBC36C4A3E2}"/>
              </a:ext>
            </a:extLst>
          </p:cNvPr>
          <p:cNvSpPr/>
          <p:nvPr/>
        </p:nvSpPr>
        <p:spPr>
          <a:xfrm>
            <a:off x="7459539" y="6048359"/>
            <a:ext cx="423621" cy="33855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1219140">
              <a:defRPr/>
            </a:pPr>
            <a:r>
              <a:rPr lang="ru-RU" sz="1600" b="1" dirty="0">
                <a:solidFill>
                  <a:srgbClr val="0070C0"/>
                </a:solidFill>
                <a:latin typeface="Verdana"/>
                <a:ea typeface="Verdana"/>
                <a:cs typeface="Verdana"/>
              </a:rPr>
              <a:t>+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343D8B2-99A8-48B2-8AAC-EC2A526300A1}"/>
              </a:ext>
            </a:extLst>
          </p:cNvPr>
          <p:cNvSpPr txBox="1"/>
          <p:nvPr/>
        </p:nvSpPr>
        <p:spPr>
          <a:xfrm>
            <a:off x="2616334" y="1079404"/>
            <a:ext cx="7399391" cy="4513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095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133" b="1" dirty="0">
                <a:solidFill>
                  <a:srgbClr val="171616"/>
                </a:solidFill>
                <a:latin typeface="Verdana"/>
                <a:ea typeface="Verdana"/>
                <a:cs typeface="Verdana"/>
              </a:rPr>
              <a:t>Находить потери и резервы в потоках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CD95400-1061-47A4-9178-5659D69B142A}"/>
              </a:ext>
            </a:extLst>
          </p:cNvPr>
          <p:cNvSpPr txBox="1"/>
          <p:nvPr/>
        </p:nvSpPr>
        <p:spPr>
          <a:xfrm>
            <a:off x="3127321" y="5556265"/>
            <a:ext cx="6342768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095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171616"/>
                </a:solidFill>
                <a:latin typeface="Verdana"/>
                <a:ea typeface="Verdana"/>
                <a:cs typeface="Verdana"/>
              </a:rPr>
              <a:t> </a:t>
            </a:r>
            <a:r>
              <a:rPr lang="ru-RU" sz="2133" b="1" dirty="0">
                <a:solidFill>
                  <a:srgbClr val="1E86C8"/>
                </a:solidFill>
                <a:latin typeface="Verdana"/>
                <a:ea typeface="Verdana"/>
                <a:cs typeface="Verdana"/>
              </a:rPr>
              <a:t>Добиваться эффекта за счёт</a:t>
            </a:r>
            <a:endParaRPr lang="ru-RU" sz="2400" b="1" dirty="0">
              <a:solidFill>
                <a:srgbClr val="1E86C8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8247637E-60AB-4063-B5D7-424999D5EED3}"/>
              </a:ext>
            </a:extLst>
          </p:cNvPr>
          <p:cNvSpPr/>
          <p:nvPr/>
        </p:nvSpPr>
        <p:spPr>
          <a:xfrm>
            <a:off x="1350687" y="2120389"/>
            <a:ext cx="3572920" cy="30433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89" indent="-228589" defTabSz="1219140">
              <a:lnSpc>
                <a:spcPct val="175000"/>
              </a:lnSpc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171616"/>
                </a:solidFill>
                <a:latin typeface="Verdana"/>
                <a:ea typeface="Verdana"/>
                <a:cs typeface="Arial"/>
              </a:rPr>
              <a:t>Перепроизводство</a:t>
            </a:r>
          </a:p>
          <a:p>
            <a:pPr marL="228589" indent="-228589" defTabSz="1219140">
              <a:lnSpc>
                <a:spcPct val="175000"/>
              </a:lnSpc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171616"/>
                </a:solidFill>
                <a:latin typeface="Verdana"/>
                <a:ea typeface="Verdana"/>
                <a:cs typeface="Arial"/>
              </a:rPr>
              <a:t>Излишние запасы</a:t>
            </a:r>
          </a:p>
          <a:p>
            <a:pPr marL="228589" indent="-228589" defTabSz="1219140">
              <a:lnSpc>
                <a:spcPct val="175000"/>
              </a:lnSpc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171616"/>
                </a:solidFill>
                <a:latin typeface="Verdana"/>
                <a:ea typeface="Verdana"/>
                <a:cs typeface="Arial"/>
              </a:rPr>
              <a:t>Ненужная транспортировка</a:t>
            </a:r>
          </a:p>
          <a:p>
            <a:pPr marL="228589" indent="-228589" defTabSz="1219140">
              <a:lnSpc>
                <a:spcPct val="175000"/>
              </a:lnSpc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171616"/>
                </a:solidFill>
                <a:latin typeface="Verdana"/>
                <a:ea typeface="Verdana"/>
                <a:cs typeface="Arial"/>
              </a:rPr>
              <a:t>Лишние движения</a:t>
            </a:r>
          </a:p>
          <a:p>
            <a:pPr marL="228589" indent="-228589" defTabSz="1219140">
              <a:lnSpc>
                <a:spcPct val="175000"/>
              </a:lnSpc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171616"/>
                </a:solidFill>
                <a:latin typeface="Verdana"/>
                <a:ea typeface="Verdana"/>
                <a:cs typeface="Arial"/>
              </a:rPr>
              <a:t>Ожидание</a:t>
            </a:r>
          </a:p>
          <a:p>
            <a:pPr marL="228589" indent="-228589" defTabSz="1219140">
              <a:lnSpc>
                <a:spcPct val="175000"/>
              </a:lnSpc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171616"/>
                </a:solidFill>
                <a:latin typeface="Verdana"/>
                <a:ea typeface="Verdana"/>
                <a:cs typeface="Arial"/>
              </a:rPr>
              <a:t>Избыточная обработка</a:t>
            </a:r>
          </a:p>
          <a:p>
            <a:pPr marL="228589" indent="-228589" defTabSz="1219140">
              <a:lnSpc>
                <a:spcPct val="175000"/>
              </a:lnSpc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171616"/>
                </a:solidFill>
                <a:latin typeface="Verdana"/>
                <a:ea typeface="Verdana"/>
                <a:cs typeface="Arial"/>
              </a:rPr>
              <a:t>Переделка/брак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3633F2BE-664E-4692-92B7-1E2FC78C25F4}"/>
              </a:ext>
            </a:extLst>
          </p:cNvPr>
          <p:cNvSpPr/>
          <p:nvPr/>
        </p:nvSpPr>
        <p:spPr>
          <a:xfrm>
            <a:off x="5213924" y="3943449"/>
            <a:ext cx="2572853" cy="1519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3890" indent="-228589" defTabSz="121914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171616"/>
                </a:solidFill>
                <a:latin typeface="Verdana"/>
                <a:ea typeface="Verdana"/>
                <a:cs typeface="Arial"/>
              </a:rPr>
              <a:t>Труд</a:t>
            </a:r>
          </a:p>
          <a:p>
            <a:pPr marL="353890" indent="-228589" defTabSz="121914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171616"/>
                </a:solidFill>
                <a:latin typeface="Verdana"/>
                <a:ea typeface="Verdana"/>
                <a:cs typeface="Arial"/>
              </a:rPr>
              <a:t>Оборудование</a:t>
            </a:r>
          </a:p>
          <a:p>
            <a:pPr marL="353890" indent="-228589" defTabSz="121914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171616"/>
                </a:solidFill>
                <a:latin typeface="Verdana"/>
                <a:ea typeface="Verdana"/>
                <a:cs typeface="Arial"/>
              </a:rPr>
              <a:t>Материалы </a:t>
            </a:r>
          </a:p>
          <a:p>
            <a:pPr marL="353890" indent="-228589" defTabSz="121914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ru-RU" sz="1600" kern="0" dirty="0">
              <a:solidFill>
                <a:srgbClr val="171616"/>
              </a:solidFill>
              <a:latin typeface="Verdana"/>
              <a:ea typeface="Verdana"/>
              <a:cs typeface="Arial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C761A4C-80C2-4214-81FC-F499CF5D090F}"/>
              </a:ext>
            </a:extLst>
          </p:cNvPr>
          <p:cNvSpPr/>
          <p:nvPr/>
        </p:nvSpPr>
        <p:spPr>
          <a:xfrm>
            <a:off x="240145" y="1105544"/>
            <a:ext cx="11684000" cy="4411393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F325A37-AE12-4E6C-AD04-47378FF484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6619" y="2255849"/>
            <a:ext cx="2689773" cy="2533227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34B9FA30-B31D-40A3-9CE5-3885956895E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0419" y="4490564"/>
            <a:ext cx="918127" cy="931088"/>
          </a:xfrm>
          <a:prstGeom prst="ellipse">
            <a:avLst/>
          </a:prstGeom>
        </p:spPr>
      </p:pic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F0378576-1F4F-463C-854F-8DD4F81C2502}"/>
              </a:ext>
            </a:extLst>
          </p:cNvPr>
          <p:cNvSpPr/>
          <p:nvPr/>
        </p:nvSpPr>
        <p:spPr>
          <a:xfrm>
            <a:off x="240145" y="5590104"/>
            <a:ext cx="11684000" cy="852369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1E86C8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682127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5552592-BDA3-41FD-B783-1231AB5DEC74}"/>
              </a:ext>
            </a:extLst>
          </p:cNvPr>
          <p:cNvSpPr/>
          <p:nvPr/>
        </p:nvSpPr>
        <p:spPr>
          <a:xfrm>
            <a:off x="3808" y="0"/>
            <a:ext cx="121920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889073" hangingPunct="0">
              <a:defRPr/>
            </a:pPr>
            <a:endParaRPr lang="ru-RU" sz="2845" kern="0" dirty="0">
              <a:solidFill>
                <a:prstClr val="white"/>
              </a:solidFill>
              <a:latin typeface="Montserrat"/>
              <a:sym typeface="Helvetica Neue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234ED5E-A8FE-D886-79BD-32C75E13303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78105" t="28461" r="2708" b="34676"/>
          <a:stretch>
            <a:fillRect/>
          </a:stretch>
        </p:blipFill>
        <p:spPr>
          <a:xfrm>
            <a:off x="8828411" y="1997805"/>
            <a:ext cx="2428932" cy="2545708"/>
          </a:xfrm>
          <a:prstGeom prst="rect">
            <a:avLst/>
          </a:prstGeom>
        </p:spPr>
      </p:pic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380330A9-2E78-4D56-A9B5-0C754778493E}"/>
              </a:ext>
            </a:extLst>
          </p:cNvPr>
          <p:cNvGrpSpPr/>
          <p:nvPr/>
        </p:nvGrpSpPr>
        <p:grpSpPr>
          <a:xfrm>
            <a:off x="934657" y="905762"/>
            <a:ext cx="10224755" cy="788001"/>
            <a:chOff x="590622" y="1655902"/>
            <a:chExt cx="10322686" cy="788001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1AADE19A-B2F4-4E08-8684-CF7579201C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8256389" y="1796279"/>
              <a:ext cx="2656919" cy="647624"/>
            </a:xfrm>
            <a:prstGeom prst="rect">
              <a:avLst/>
            </a:prstGeom>
          </p:spPr>
        </p:pic>
        <p:grpSp>
          <p:nvGrpSpPr>
            <p:cNvPr id="95" name="Группа 94">
              <a:extLst>
                <a:ext uri="{FF2B5EF4-FFF2-40B4-BE49-F238E27FC236}">
                  <a16:creationId xmlns:a16="http://schemas.microsoft.com/office/drawing/2014/main" id="{E9313854-4350-4C95-8A05-EE3B2637ADCB}"/>
                </a:ext>
              </a:extLst>
            </p:cNvPr>
            <p:cNvGrpSpPr/>
            <p:nvPr/>
          </p:nvGrpSpPr>
          <p:grpSpPr>
            <a:xfrm>
              <a:off x="590622" y="1655902"/>
              <a:ext cx="3371997" cy="742950"/>
              <a:chOff x="72" y="2084712"/>
              <a:chExt cx="12188516" cy="2685489"/>
            </a:xfrm>
          </p:grpSpPr>
          <p:sp>
            <p:nvSpPr>
              <p:cNvPr id="17" name="Полилиния: фигура 16">
                <a:extLst>
                  <a:ext uri="{FF2B5EF4-FFF2-40B4-BE49-F238E27FC236}">
                    <a16:creationId xmlns:a16="http://schemas.microsoft.com/office/drawing/2014/main" id="{A127C3A9-245B-4E6A-A691-908F0CCAD00F}"/>
                  </a:ext>
                </a:extLst>
              </p:cNvPr>
              <p:cNvSpPr/>
              <p:nvPr/>
            </p:nvSpPr>
            <p:spPr>
              <a:xfrm>
                <a:off x="3216462" y="2490597"/>
                <a:ext cx="486949" cy="457626"/>
              </a:xfrm>
              <a:custGeom>
                <a:avLst/>
                <a:gdLst>
                  <a:gd name="connsiteX0" fmla="*/ 62706 w 486949"/>
                  <a:gd name="connsiteY0" fmla="*/ 126144 h 457626"/>
                  <a:gd name="connsiteX1" fmla="*/ 228163 w 486949"/>
                  <a:gd name="connsiteY1" fmla="*/ 402068 h 457626"/>
                  <a:gd name="connsiteX2" fmla="*/ 258217 w 486949"/>
                  <a:gd name="connsiteY2" fmla="*/ 402068 h 457626"/>
                  <a:gd name="connsiteX3" fmla="*/ 423593 w 486949"/>
                  <a:gd name="connsiteY3" fmla="*/ 124194 h 457626"/>
                  <a:gd name="connsiteX4" fmla="*/ 424243 w 486949"/>
                  <a:gd name="connsiteY4" fmla="*/ 457626 h 457626"/>
                  <a:gd name="connsiteX5" fmla="*/ 486949 w 486949"/>
                  <a:gd name="connsiteY5" fmla="*/ 457626 h 457626"/>
                  <a:gd name="connsiteX6" fmla="*/ 486380 w 486949"/>
                  <a:gd name="connsiteY6" fmla="*/ 0 h 457626"/>
                  <a:gd name="connsiteX7" fmla="*/ 432771 w 486949"/>
                  <a:gd name="connsiteY7" fmla="*/ 0 h 457626"/>
                  <a:gd name="connsiteX8" fmla="*/ 244490 w 486949"/>
                  <a:gd name="connsiteY8" fmla="*/ 321654 h 457626"/>
                  <a:gd name="connsiteX9" fmla="*/ 53609 w 486949"/>
                  <a:gd name="connsiteY9" fmla="*/ 0 h 457626"/>
                  <a:gd name="connsiteX10" fmla="*/ 0 w 486949"/>
                  <a:gd name="connsiteY10" fmla="*/ 0 h 457626"/>
                  <a:gd name="connsiteX11" fmla="*/ 0 w 486949"/>
                  <a:gd name="connsiteY11" fmla="*/ 457626 h 457626"/>
                  <a:gd name="connsiteX12" fmla="*/ 62706 w 486949"/>
                  <a:gd name="connsiteY12" fmla="*/ 457626 h 457626"/>
                  <a:gd name="connsiteX13" fmla="*/ 62706 w 486949"/>
                  <a:gd name="connsiteY13" fmla="*/ 126144 h 45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86949" h="457626">
                    <a:moveTo>
                      <a:pt x="62706" y="126144"/>
                    </a:moveTo>
                    <a:lnTo>
                      <a:pt x="228163" y="402068"/>
                    </a:lnTo>
                    <a:lnTo>
                      <a:pt x="258217" y="402068"/>
                    </a:lnTo>
                    <a:lnTo>
                      <a:pt x="423593" y="124194"/>
                    </a:lnTo>
                    <a:lnTo>
                      <a:pt x="424243" y="457626"/>
                    </a:lnTo>
                    <a:lnTo>
                      <a:pt x="486949" y="457626"/>
                    </a:lnTo>
                    <a:lnTo>
                      <a:pt x="486380" y="0"/>
                    </a:lnTo>
                    <a:lnTo>
                      <a:pt x="432771" y="0"/>
                    </a:lnTo>
                    <a:lnTo>
                      <a:pt x="244490" y="321654"/>
                    </a:lnTo>
                    <a:lnTo>
                      <a:pt x="53609" y="0"/>
                    </a:lnTo>
                    <a:lnTo>
                      <a:pt x="0" y="0"/>
                    </a:lnTo>
                    <a:lnTo>
                      <a:pt x="0" y="457626"/>
                    </a:lnTo>
                    <a:lnTo>
                      <a:pt x="62706" y="457626"/>
                    </a:lnTo>
                    <a:lnTo>
                      <a:pt x="62706" y="126144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18" name="Полилиния: фигура 17">
                <a:extLst>
                  <a:ext uri="{FF2B5EF4-FFF2-40B4-BE49-F238E27FC236}">
                    <a16:creationId xmlns:a16="http://schemas.microsoft.com/office/drawing/2014/main" id="{81CCBE23-E1C7-4C8B-AA04-F1AE7E079C91}"/>
                  </a:ext>
                </a:extLst>
              </p:cNvPr>
              <p:cNvSpPr/>
              <p:nvPr/>
            </p:nvSpPr>
            <p:spPr>
              <a:xfrm>
                <a:off x="3835484" y="2601714"/>
                <a:ext cx="332132" cy="346509"/>
              </a:xfrm>
              <a:custGeom>
                <a:avLst/>
                <a:gdLst>
                  <a:gd name="connsiteX0" fmla="*/ 269345 w 332132"/>
                  <a:gd name="connsiteY0" fmla="*/ 94141 h 346509"/>
                  <a:gd name="connsiteX1" fmla="*/ 269345 w 332132"/>
                  <a:gd name="connsiteY1" fmla="*/ 346510 h 346509"/>
                  <a:gd name="connsiteX2" fmla="*/ 332133 w 332132"/>
                  <a:gd name="connsiteY2" fmla="*/ 346510 h 346509"/>
                  <a:gd name="connsiteX3" fmla="*/ 332133 w 332132"/>
                  <a:gd name="connsiteY3" fmla="*/ 0 h 346509"/>
                  <a:gd name="connsiteX4" fmla="*/ 275274 w 332132"/>
                  <a:gd name="connsiteY4" fmla="*/ 0 h 346509"/>
                  <a:gd name="connsiteX5" fmla="*/ 62787 w 332132"/>
                  <a:gd name="connsiteY5" fmla="*/ 252369 h 346509"/>
                  <a:gd name="connsiteX6" fmla="*/ 62787 w 332132"/>
                  <a:gd name="connsiteY6" fmla="*/ 0 h 346509"/>
                  <a:gd name="connsiteX7" fmla="*/ 0 w 332132"/>
                  <a:gd name="connsiteY7" fmla="*/ 0 h 346509"/>
                  <a:gd name="connsiteX8" fmla="*/ 0 w 332132"/>
                  <a:gd name="connsiteY8" fmla="*/ 346510 h 346509"/>
                  <a:gd name="connsiteX9" fmla="*/ 57589 w 332132"/>
                  <a:gd name="connsiteY9" fmla="*/ 346510 h 346509"/>
                  <a:gd name="connsiteX10" fmla="*/ 269345 w 332132"/>
                  <a:gd name="connsiteY10" fmla="*/ 94141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2" h="346509">
                    <a:moveTo>
                      <a:pt x="269345" y="94141"/>
                    </a:moveTo>
                    <a:lnTo>
                      <a:pt x="269345" y="346510"/>
                    </a:lnTo>
                    <a:lnTo>
                      <a:pt x="332133" y="346510"/>
                    </a:lnTo>
                    <a:lnTo>
                      <a:pt x="332133" y="0"/>
                    </a:lnTo>
                    <a:lnTo>
                      <a:pt x="275274" y="0"/>
                    </a:lnTo>
                    <a:lnTo>
                      <a:pt x="62787" y="252369"/>
                    </a:lnTo>
                    <a:lnTo>
                      <a:pt x="62787" y="0"/>
                    </a:lnTo>
                    <a:lnTo>
                      <a:pt x="0" y="0"/>
                    </a:lnTo>
                    <a:lnTo>
                      <a:pt x="0" y="346510"/>
                    </a:lnTo>
                    <a:lnTo>
                      <a:pt x="57589" y="346510"/>
                    </a:lnTo>
                    <a:lnTo>
                      <a:pt x="269345" y="94141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19" name="Полилиния: фигура 18">
                <a:extLst>
                  <a:ext uri="{FF2B5EF4-FFF2-40B4-BE49-F238E27FC236}">
                    <a16:creationId xmlns:a16="http://schemas.microsoft.com/office/drawing/2014/main" id="{D6CAF947-DAF9-4D7A-B5F1-F26D633304C6}"/>
                  </a:ext>
                </a:extLst>
              </p:cNvPr>
              <p:cNvSpPr/>
              <p:nvPr/>
            </p:nvSpPr>
            <p:spPr>
              <a:xfrm>
                <a:off x="4289212" y="2601714"/>
                <a:ext cx="322872" cy="346509"/>
              </a:xfrm>
              <a:custGeom>
                <a:avLst/>
                <a:gdLst>
                  <a:gd name="connsiteX0" fmla="*/ 62707 w 322872"/>
                  <a:gd name="connsiteY0" fmla="*/ 201359 h 346509"/>
                  <a:gd name="connsiteX1" fmla="*/ 260167 w 322872"/>
                  <a:gd name="connsiteY1" fmla="*/ 201359 h 346509"/>
                  <a:gd name="connsiteX2" fmla="*/ 260167 w 322872"/>
                  <a:gd name="connsiteY2" fmla="*/ 346510 h 346509"/>
                  <a:gd name="connsiteX3" fmla="*/ 322873 w 322872"/>
                  <a:gd name="connsiteY3" fmla="*/ 346510 h 346509"/>
                  <a:gd name="connsiteX4" fmla="*/ 322873 w 322872"/>
                  <a:gd name="connsiteY4" fmla="*/ 0 h 346509"/>
                  <a:gd name="connsiteX5" fmla="*/ 260167 w 322872"/>
                  <a:gd name="connsiteY5" fmla="*/ 0 h 346509"/>
                  <a:gd name="connsiteX6" fmla="*/ 260167 w 322872"/>
                  <a:gd name="connsiteY6" fmla="*/ 147100 h 346509"/>
                  <a:gd name="connsiteX7" fmla="*/ 62707 w 322872"/>
                  <a:gd name="connsiteY7" fmla="*/ 147100 h 346509"/>
                  <a:gd name="connsiteX8" fmla="*/ 62707 w 322872"/>
                  <a:gd name="connsiteY8" fmla="*/ 0 h 346509"/>
                  <a:gd name="connsiteX9" fmla="*/ 0 w 322872"/>
                  <a:gd name="connsiteY9" fmla="*/ 0 h 346509"/>
                  <a:gd name="connsiteX10" fmla="*/ 0 w 322872"/>
                  <a:gd name="connsiteY10" fmla="*/ 346510 h 346509"/>
                  <a:gd name="connsiteX11" fmla="*/ 62707 w 322872"/>
                  <a:gd name="connsiteY11" fmla="*/ 346510 h 346509"/>
                  <a:gd name="connsiteX12" fmla="*/ 62707 w 322872"/>
                  <a:gd name="connsiteY12" fmla="*/ 201359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2872" h="346509">
                    <a:moveTo>
                      <a:pt x="62707" y="201359"/>
                    </a:moveTo>
                    <a:lnTo>
                      <a:pt x="260167" y="201359"/>
                    </a:lnTo>
                    <a:lnTo>
                      <a:pt x="260167" y="346510"/>
                    </a:lnTo>
                    <a:lnTo>
                      <a:pt x="322873" y="346510"/>
                    </a:lnTo>
                    <a:lnTo>
                      <a:pt x="322873" y="0"/>
                    </a:lnTo>
                    <a:lnTo>
                      <a:pt x="260167" y="0"/>
                    </a:lnTo>
                    <a:lnTo>
                      <a:pt x="260167" y="147100"/>
                    </a:lnTo>
                    <a:lnTo>
                      <a:pt x="62707" y="147100"/>
                    </a:lnTo>
                    <a:lnTo>
                      <a:pt x="62707" y="0"/>
                    </a:lnTo>
                    <a:lnTo>
                      <a:pt x="0" y="0"/>
                    </a:lnTo>
                    <a:lnTo>
                      <a:pt x="0" y="346510"/>
                    </a:lnTo>
                    <a:lnTo>
                      <a:pt x="62707" y="346510"/>
                    </a:lnTo>
                    <a:lnTo>
                      <a:pt x="62707" y="20135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0" name="Полилиния: фигура 19">
                <a:extLst>
                  <a:ext uri="{FF2B5EF4-FFF2-40B4-BE49-F238E27FC236}">
                    <a16:creationId xmlns:a16="http://schemas.microsoft.com/office/drawing/2014/main" id="{98738AC6-7017-4860-A3D0-91750C71676B}"/>
                  </a:ext>
                </a:extLst>
              </p:cNvPr>
              <p:cNvSpPr/>
              <p:nvPr/>
            </p:nvSpPr>
            <p:spPr>
              <a:xfrm>
                <a:off x="4734329" y="2601714"/>
                <a:ext cx="332132" cy="346509"/>
              </a:xfrm>
              <a:custGeom>
                <a:avLst/>
                <a:gdLst>
                  <a:gd name="connsiteX0" fmla="*/ 269345 w 332132"/>
                  <a:gd name="connsiteY0" fmla="*/ 346510 h 346509"/>
                  <a:gd name="connsiteX1" fmla="*/ 332133 w 332132"/>
                  <a:gd name="connsiteY1" fmla="*/ 346510 h 346509"/>
                  <a:gd name="connsiteX2" fmla="*/ 332133 w 332132"/>
                  <a:gd name="connsiteY2" fmla="*/ 0 h 346509"/>
                  <a:gd name="connsiteX3" fmla="*/ 275275 w 332132"/>
                  <a:gd name="connsiteY3" fmla="*/ 0 h 346509"/>
                  <a:gd name="connsiteX4" fmla="*/ 62788 w 332132"/>
                  <a:gd name="connsiteY4" fmla="*/ 252369 h 346509"/>
                  <a:gd name="connsiteX5" fmla="*/ 62788 w 332132"/>
                  <a:gd name="connsiteY5" fmla="*/ 0 h 346509"/>
                  <a:gd name="connsiteX6" fmla="*/ 0 w 332132"/>
                  <a:gd name="connsiteY6" fmla="*/ 0 h 346509"/>
                  <a:gd name="connsiteX7" fmla="*/ 0 w 332132"/>
                  <a:gd name="connsiteY7" fmla="*/ 346510 h 346509"/>
                  <a:gd name="connsiteX8" fmla="*/ 57508 w 332132"/>
                  <a:gd name="connsiteY8" fmla="*/ 346510 h 346509"/>
                  <a:gd name="connsiteX9" fmla="*/ 269345 w 332132"/>
                  <a:gd name="connsiteY9" fmla="*/ 94141 h 346509"/>
                  <a:gd name="connsiteX10" fmla="*/ 269345 w 332132"/>
                  <a:gd name="connsiteY10" fmla="*/ 346510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2" h="346509">
                    <a:moveTo>
                      <a:pt x="269345" y="346510"/>
                    </a:moveTo>
                    <a:lnTo>
                      <a:pt x="332133" y="346510"/>
                    </a:lnTo>
                    <a:lnTo>
                      <a:pt x="332133" y="0"/>
                    </a:lnTo>
                    <a:lnTo>
                      <a:pt x="275275" y="0"/>
                    </a:lnTo>
                    <a:lnTo>
                      <a:pt x="62788" y="252369"/>
                    </a:lnTo>
                    <a:lnTo>
                      <a:pt x="62788" y="0"/>
                    </a:lnTo>
                    <a:lnTo>
                      <a:pt x="0" y="0"/>
                    </a:lnTo>
                    <a:lnTo>
                      <a:pt x="0" y="346510"/>
                    </a:lnTo>
                    <a:lnTo>
                      <a:pt x="57508" y="346510"/>
                    </a:lnTo>
                    <a:lnTo>
                      <a:pt x="269345" y="94141"/>
                    </a:lnTo>
                    <a:lnTo>
                      <a:pt x="269345" y="34651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1" name="Полилиния: фигура 20">
                <a:extLst>
                  <a:ext uri="{FF2B5EF4-FFF2-40B4-BE49-F238E27FC236}">
                    <a16:creationId xmlns:a16="http://schemas.microsoft.com/office/drawing/2014/main" id="{B338D987-919C-49F9-AE3C-F069DE1260E7}"/>
                  </a:ext>
                </a:extLst>
              </p:cNvPr>
              <p:cNvSpPr/>
              <p:nvPr/>
            </p:nvSpPr>
            <p:spPr>
              <a:xfrm>
                <a:off x="5155973" y="2598546"/>
                <a:ext cx="324253" cy="353819"/>
              </a:xfrm>
              <a:custGeom>
                <a:avLst/>
                <a:gdLst>
                  <a:gd name="connsiteX0" fmla="*/ 183083 w 324253"/>
                  <a:gd name="connsiteY0" fmla="*/ 353576 h 353819"/>
                  <a:gd name="connsiteX1" fmla="*/ 267071 w 324253"/>
                  <a:gd name="connsiteY1" fmla="*/ 334244 h 353819"/>
                  <a:gd name="connsiteX2" fmla="*/ 324253 w 324253"/>
                  <a:gd name="connsiteY2" fmla="*/ 279011 h 353819"/>
                  <a:gd name="connsiteX3" fmla="*/ 276493 w 324253"/>
                  <a:gd name="connsiteY3" fmla="*/ 248957 h 353819"/>
                  <a:gd name="connsiteX4" fmla="*/ 235961 w 324253"/>
                  <a:gd name="connsiteY4" fmla="*/ 286240 h 353819"/>
                  <a:gd name="connsiteX5" fmla="*/ 182352 w 324253"/>
                  <a:gd name="connsiteY5" fmla="*/ 298668 h 353819"/>
                  <a:gd name="connsiteX6" fmla="*/ 121270 w 324253"/>
                  <a:gd name="connsiteY6" fmla="*/ 283641 h 353819"/>
                  <a:gd name="connsiteX7" fmla="*/ 78789 w 324253"/>
                  <a:gd name="connsiteY7" fmla="*/ 240835 h 353819"/>
                  <a:gd name="connsiteX8" fmla="*/ 63437 w 324253"/>
                  <a:gd name="connsiteY8" fmla="*/ 176423 h 353819"/>
                  <a:gd name="connsiteX9" fmla="*/ 78789 w 324253"/>
                  <a:gd name="connsiteY9" fmla="*/ 112660 h 353819"/>
                  <a:gd name="connsiteX10" fmla="*/ 121270 w 324253"/>
                  <a:gd name="connsiteY10" fmla="*/ 69854 h 353819"/>
                  <a:gd name="connsiteX11" fmla="*/ 182352 w 324253"/>
                  <a:gd name="connsiteY11" fmla="*/ 54827 h 353819"/>
                  <a:gd name="connsiteX12" fmla="*/ 235961 w 324253"/>
                  <a:gd name="connsiteY12" fmla="*/ 67255 h 353819"/>
                  <a:gd name="connsiteX13" fmla="*/ 276493 w 324253"/>
                  <a:gd name="connsiteY13" fmla="*/ 104538 h 353819"/>
                  <a:gd name="connsiteX14" fmla="*/ 324253 w 324253"/>
                  <a:gd name="connsiteY14" fmla="*/ 73834 h 353819"/>
                  <a:gd name="connsiteX15" fmla="*/ 267071 w 324253"/>
                  <a:gd name="connsiteY15" fmla="*/ 18926 h 353819"/>
                  <a:gd name="connsiteX16" fmla="*/ 183083 w 324253"/>
                  <a:gd name="connsiteY16" fmla="*/ 0 h 353819"/>
                  <a:gd name="connsiteX17" fmla="*/ 88617 w 324253"/>
                  <a:gd name="connsiteY17" fmla="*/ 22581 h 353819"/>
                  <a:gd name="connsiteX18" fmla="*/ 23555 w 324253"/>
                  <a:gd name="connsiteY18" fmla="*/ 85368 h 353819"/>
                  <a:gd name="connsiteX19" fmla="*/ 0 w 324253"/>
                  <a:gd name="connsiteY19" fmla="*/ 176585 h 353819"/>
                  <a:gd name="connsiteX20" fmla="*/ 23555 w 324253"/>
                  <a:gd name="connsiteY20" fmla="*/ 267802 h 353819"/>
                  <a:gd name="connsiteX21" fmla="*/ 88617 w 324253"/>
                  <a:gd name="connsiteY21" fmla="*/ 330914 h 353819"/>
                  <a:gd name="connsiteX22" fmla="*/ 183083 w 324253"/>
                  <a:gd name="connsiteY22" fmla="*/ 353820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819">
                    <a:moveTo>
                      <a:pt x="183083" y="353576"/>
                    </a:moveTo>
                    <a:cubicBezTo>
                      <a:pt x="214436" y="353576"/>
                      <a:pt x="242459" y="347159"/>
                      <a:pt x="267071" y="334244"/>
                    </a:cubicBezTo>
                    <a:cubicBezTo>
                      <a:pt x="291682" y="321411"/>
                      <a:pt x="310770" y="302972"/>
                      <a:pt x="324253" y="279011"/>
                    </a:cubicBezTo>
                    <a:lnTo>
                      <a:pt x="276493" y="248957"/>
                    </a:lnTo>
                    <a:cubicBezTo>
                      <a:pt x="265608" y="265527"/>
                      <a:pt x="252125" y="277955"/>
                      <a:pt x="235961" y="286240"/>
                    </a:cubicBezTo>
                    <a:cubicBezTo>
                      <a:pt x="219878" y="294525"/>
                      <a:pt x="201927" y="298668"/>
                      <a:pt x="182352" y="298668"/>
                    </a:cubicBezTo>
                    <a:cubicBezTo>
                      <a:pt x="159690" y="298668"/>
                      <a:pt x="139302" y="293713"/>
                      <a:pt x="121270" y="283641"/>
                    </a:cubicBezTo>
                    <a:cubicBezTo>
                      <a:pt x="103156" y="273650"/>
                      <a:pt x="89023" y="259354"/>
                      <a:pt x="78789" y="240835"/>
                    </a:cubicBezTo>
                    <a:cubicBezTo>
                      <a:pt x="68555" y="222315"/>
                      <a:pt x="63437" y="200872"/>
                      <a:pt x="63437" y="176423"/>
                    </a:cubicBezTo>
                    <a:cubicBezTo>
                      <a:pt x="63437" y="151974"/>
                      <a:pt x="68555" y="131180"/>
                      <a:pt x="78789" y="112660"/>
                    </a:cubicBezTo>
                    <a:cubicBezTo>
                      <a:pt x="89023" y="94141"/>
                      <a:pt x="103156" y="79845"/>
                      <a:pt x="121270" y="69854"/>
                    </a:cubicBezTo>
                    <a:cubicBezTo>
                      <a:pt x="139383" y="59863"/>
                      <a:pt x="159690" y="54827"/>
                      <a:pt x="182352" y="54827"/>
                    </a:cubicBezTo>
                    <a:cubicBezTo>
                      <a:pt x="201927" y="54827"/>
                      <a:pt x="219797" y="58970"/>
                      <a:pt x="235961" y="67255"/>
                    </a:cubicBezTo>
                    <a:cubicBezTo>
                      <a:pt x="252125" y="75540"/>
                      <a:pt x="265608" y="87968"/>
                      <a:pt x="276493" y="104538"/>
                    </a:cubicBezTo>
                    <a:lnTo>
                      <a:pt x="324253" y="73834"/>
                    </a:lnTo>
                    <a:cubicBezTo>
                      <a:pt x="310770" y="49873"/>
                      <a:pt x="291682" y="31516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5" y="7554"/>
                      <a:pt x="88617" y="22581"/>
                    </a:cubicBezTo>
                    <a:cubicBezTo>
                      <a:pt x="60919" y="37608"/>
                      <a:pt x="39313" y="58564"/>
                      <a:pt x="23555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5" y="267802"/>
                    </a:cubicBezTo>
                    <a:cubicBezTo>
                      <a:pt x="39232" y="294606"/>
                      <a:pt x="60919" y="315644"/>
                      <a:pt x="88617" y="330914"/>
                    </a:cubicBezTo>
                    <a:cubicBezTo>
                      <a:pt x="116315" y="346185"/>
                      <a:pt x="147831" y="353820"/>
                      <a:pt x="183083" y="353820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2" name="Полилиния: фигура 21">
                <a:extLst>
                  <a:ext uri="{FF2B5EF4-FFF2-40B4-BE49-F238E27FC236}">
                    <a16:creationId xmlns:a16="http://schemas.microsoft.com/office/drawing/2014/main" id="{1F1BCE87-B9B4-4E09-AAF7-5575065F3B54}"/>
                  </a:ext>
                </a:extLst>
              </p:cNvPr>
              <p:cNvSpPr/>
              <p:nvPr/>
            </p:nvSpPr>
            <p:spPr>
              <a:xfrm>
                <a:off x="5498583" y="2601714"/>
                <a:ext cx="316374" cy="346509"/>
              </a:xfrm>
              <a:custGeom>
                <a:avLst/>
                <a:gdLst>
                  <a:gd name="connsiteX0" fmla="*/ 316375 w 316374"/>
                  <a:gd name="connsiteY0" fmla="*/ 0 h 346509"/>
                  <a:gd name="connsiteX1" fmla="*/ 0 w 316374"/>
                  <a:gd name="connsiteY1" fmla="*/ 0 h 346509"/>
                  <a:gd name="connsiteX2" fmla="*/ 0 w 316374"/>
                  <a:gd name="connsiteY2" fmla="*/ 54909 h 346509"/>
                  <a:gd name="connsiteX3" fmla="*/ 126793 w 316374"/>
                  <a:gd name="connsiteY3" fmla="*/ 54909 h 346509"/>
                  <a:gd name="connsiteX4" fmla="*/ 126793 w 316374"/>
                  <a:gd name="connsiteY4" fmla="*/ 346510 h 346509"/>
                  <a:gd name="connsiteX5" fmla="*/ 189581 w 316374"/>
                  <a:gd name="connsiteY5" fmla="*/ 346510 h 346509"/>
                  <a:gd name="connsiteX6" fmla="*/ 189581 w 316374"/>
                  <a:gd name="connsiteY6" fmla="*/ 54909 h 346509"/>
                  <a:gd name="connsiteX7" fmla="*/ 316375 w 316374"/>
                  <a:gd name="connsiteY7" fmla="*/ 54909 h 346509"/>
                  <a:gd name="connsiteX8" fmla="*/ 316375 w 316374"/>
                  <a:gd name="connsiteY8" fmla="*/ 0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374" h="346509">
                    <a:moveTo>
                      <a:pt x="316375" y="0"/>
                    </a:moveTo>
                    <a:lnTo>
                      <a:pt x="0" y="0"/>
                    </a:lnTo>
                    <a:lnTo>
                      <a:pt x="0" y="54909"/>
                    </a:lnTo>
                    <a:lnTo>
                      <a:pt x="126793" y="54909"/>
                    </a:lnTo>
                    <a:lnTo>
                      <a:pt x="126793" y="346510"/>
                    </a:lnTo>
                    <a:lnTo>
                      <a:pt x="189581" y="346510"/>
                    </a:lnTo>
                    <a:lnTo>
                      <a:pt x="189581" y="54909"/>
                    </a:lnTo>
                    <a:lnTo>
                      <a:pt x="316375" y="54909"/>
                    </a:lnTo>
                    <a:lnTo>
                      <a:pt x="3163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3" name="Полилиния: фигура 22">
                <a:extLst>
                  <a:ext uri="{FF2B5EF4-FFF2-40B4-BE49-F238E27FC236}">
                    <a16:creationId xmlns:a16="http://schemas.microsoft.com/office/drawing/2014/main" id="{0E6C2C63-FA6E-46AD-8B46-8BFBB1D9C33B}"/>
                  </a:ext>
                </a:extLst>
              </p:cNvPr>
              <p:cNvSpPr/>
              <p:nvPr/>
            </p:nvSpPr>
            <p:spPr>
              <a:xfrm>
                <a:off x="5832015" y="2598465"/>
                <a:ext cx="345128" cy="353657"/>
              </a:xfrm>
              <a:custGeom>
                <a:avLst/>
                <a:gdLst>
                  <a:gd name="connsiteX0" fmla="*/ 88861 w 345128"/>
                  <a:gd name="connsiteY0" fmla="*/ 331077 h 353657"/>
                  <a:gd name="connsiteX1" fmla="*/ 186251 w 345128"/>
                  <a:gd name="connsiteY1" fmla="*/ 353657 h 353657"/>
                  <a:gd name="connsiteX2" fmla="*/ 264309 w 345128"/>
                  <a:gd name="connsiteY2" fmla="*/ 339280 h 353657"/>
                  <a:gd name="connsiteX3" fmla="*/ 322873 w 345128"/>
                  <a:gd name="connsiteY3" fmla="*/ 297449 h 353657"/>
                  <a:gd name="connsiteX4" fmla="*/ 288189 w 345128"/>
                  <a:gd name="connsiteY4" fmla="*/ 256917 h 353657"/>
                  <a:gd name="connsiteX5" fmla="*/ 188200 w 345128"/>
                  <a:gd name="connsiteY5" fmla="*/ 298749 h 353657"/>
                  <a:gd name="connsiteX6" fmla="*/ 102913 w 345128"/>
                  <a:gd name="connsiteY6" fmla="*/ 270969 h 353657"/>
                  <a:gd name="connsiteX7" fmla="*/ 62706 w 345128"/>
                  <a:gd name="connsiteY7" fmla="*/ 197460 h 353657"/>
                  <a:gd name="connsiteX8" fmla="*/ 343829 w 345128"/>
                  <a:gd name="connsiteY8" fmla="*/ 197460 h 353657"/>
                  <a:gd name="connsiteX9" fmla="*/ 345129 w 345128"/>
                  <a:gd name="connsiteY9" fmla="*/ 178534 h 353657"/>
                  <a:gd name="connsiteX10" fmla="*/ 323279 w 345128"/>
                  <a:gd name="connsiteY10" fmla="*/ 85693 h 353657"/>
                  <a:gd name="connsiteX11" fmla="*/ 262522 w 345128"/>
                  <a:gd name="connsiteY11" fmla="*/ 22581 h 353657"/>
                  <a:gd name="connsiteX12" fmla="*/ 173904 w 345128"/>
                  <a:gd name="connsiteY12" fmla="*/ 0 h 353657"/>
                  <a:gd name="connsiteX13" fmla="*/ 84719 w 345128"/>
                  <a:gd name="connsiteY13" fmla="*/ 22581 h 353657"/>
                  <a:gd name="connsiteX14" fmla="*/ 22581 w 345128"/>
                  <a:gd name="connsiteY14" fmla="*/ 85693 h 353657"/>
                  <a:gd name="connsiteX15" fmla="*/ 0 w 345128"/>
                  <a:gd name="connsiteY15" fmla="*/ 176585 h 353657"/>
                  <a:gd name="connsiteX16" fmla="*/ 23230 w 345128"/>
                  <a:gd name="connsiteY16" fmla="*/ 268127 h 353657"/>
                  <a:gd name="connsiteX17" fmla="*/ 88942 w 345128"/>
                  <a:gd name="connsiteY17" fmla="*/ 331239 h 353657"/>
                  <a:gd name="connsiteX18" fmla="*/ 98283 w 345128"/>
                  <a:gd name="connsiteY18" fmla="*/ 80414 h 353657"/>
                  <a:gd name="connsiteX19" fmla="*/ 173824 w 345128"/>
                  <a:gd name="connsiteY19" fmla="*/ 52959 h 353657"/>
                  <a:gd name="connsiteX20" fmla="*/ 249363 w 345128"/>
                  <a:gd name="connsiteY20" fmla="*/ 80739 h 353657"/>
                  <a:gd name="connsiteX21" fmla="*/ 285022 w 345128"/>
                  <a:gd name="connsiteY21" fmla="*/ 152298 h 353657"/>
                  <a:gd name="connsiteX22" fmla="*/ 62787 w 345128"/>
                  <a:gd name="connsiteY22" fmla="*/ 152298 h 353657"/>
                  <a:gd name="connsiteX23" fmla="*/ 98446 w 345128"/>
                  <a:gd name="connsiteY23" fmla="*/ 80414 h 35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5128" h="353657">
                    <a:moveTo>
                      <a:pt x="88861" y="331077"/>
                    </a:moveTo>
                    <a:cubicBezTo>
                      <a:pt x="117209" y="346103"/>
                      <a:pt x="149699" y="353657"/>
                      <a:pt x="186251" y="353657"/>
                    </a:cubicBezTo>
                    <a:cubicBezTo>
                      <a:pt x="215005" y="353657"/>
                      <a:pt x="241078" y="348865"/>
                      <a:pt x="264309" y="339280"/>
                    </a:cubicBezTo>
                    <a:cubicBezTo>
                      <a:pt x="287621" y="329696"/>
                      <a:pt x="307115" y="315725"/>
                      <a:pt x="322873" y="297449"/>
                    </a:cubicBezTo>
                    <a:lnTo>
                      <a:pt x="288189" y="256917"/>
                    </a:lnTo>
                    <a:cubicBezTo>
                      <a:pt x="262928" y="284778"/>
                      <a:pt x="229544" y="298749"/>
                      <a:pt x="188200" y="298749"/>
                    </a:cubicBezTo>
                    <a:cubicBezTo>
                      <a:pt x="154248" y="298749"/>
                      <a:pt x="125737" y="289489"/>
                      <a:pt x="102913" y="270969"/>
                    </a:cubicBezTo>
                    <a:cubicBezTo>
                      <a:pt x="80007" y="252450"/>
                      <a:pt x="66605" y="227920"/>
                      <a:pt x="62706" y="197460"/>
                    </a:cubicBezTo>
                    <a:lnTo>
                      <a:pt x="343829" y="197460"/>
                    </a:lnTo>
                    <a:cubicBezTo>
                      <a:pt x="344723" y="189662"/>
                      <a:pt x="345129" y="183327"/>
                      <a:pt x="345129" y="178534"/>
                    </a:cubicBezTo>
                    <a:cubicBezTo>
                      <a:pt x="345129" y="143689"/>
                      <a:pt x="337819" y="112741"/>
                      <a:pt x="323279" y="85693"/>
                    </a:cubicBezTo>
                    <a:cubicBezTo>
                      <a:pt x="308658" y="58645"/>
                      <a:pt x="288433" y="37689"/>
                      <a:pt x="262522" y="22581"/>
                    </a:cubicBezTo>
                    <a:cubicBezTo>
                      <a:pt x="236611" y="7554"/>
                      <a:pt x="207045" y="0"/>
                      <a:pt x="173904" y="0"/>
                    </a:cubicBezTo>
                    <a:cubicBezTo>
                      <a:pt x="140765" y="0"/>
                      <a:pt x="111036" y="7554"/>
                      <a:pt x="84719" y="22581"/>
                    </a:cubicBezTo>
                    <a:cubicBezTo>
                      <a:pt x="58320" y="37608"/>
                      <a:pt x="37608" y="58645"/>
                      <a:pt x="22581" y="85693"/>
                    </a:cubicBezTo>
                    <a:cubicBezTo>
                      <a:pt x="7554" y="112741"/>
                      <a:pt x="0" y="143039"/>
                      <a:pt x="0" y="176585"/>
                    </a:cubicBezTo>
                    <a:cubicBezTo>
                      <a:pt x="0" y="210131"/>
                      <a:pt x="7717" y="241078"/>
                      <a:pt x="23230" y="268127"/>
                    </a:cubicBezTo>
                    <a:cubicBezTo>
                      <a:pt x="38745" y="295175"/>
                      <a:pt x="60595" y="316212"/>
                      <a:pt x="88942" y="331239"/>
                    </a:cubicBezTo>
                    <a:close/>
                    <a:moveTo>
                      <a:pt x="98283" y="80414"/>
                    </a:moveTo>
                    <a:cubicBezTo>
                      <a:pt x="118590" y="62057"/>
                      <a:pt x="143689" y="52959"/>
                      <a:pt x="173824" y="52959"/>
                    </a:cubicBezTo>
                    <a:cubicBezTo>
                      <a:pt x="203958" y="52959"/>
                      <a:pt x="229057" y="62219"/>
                      <a:pt x="249363" y="80739"/>
                    </a:cubicBezTo>
                    <a:cubicBezTo>
                      <a:pt x="269589" y="99258"/>
                      <a:pt x="281529" y="123138"/>
                      <a:pt x="285022" y="152298"/>
                    </a:cubicBezTo>
                    <a:lnTo>
                      <a:pt x="62787" y="152298"/>
                    </a:lnTo>
                    <a:cubicBezTo>
                      <a:pt x="66280" y="122651"/>
                      <a:pt x="78139" y="98689"/>
                      <a:pt x="98446" y="804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4" name="Полилиния: фигура 23">
                <a:extLst>
                  <a:ext uri="{FF2B5EF4-FFF2-40B4-BE49-F238E27FC236}">
                    <a16:creationId xmlns:a16="http://schemas.microsoft.com/office/drawing/2014/main" id="{1A0E16B9-8CE4-4EF5-8279-BC068E72548F}"/>
                  </a:ext>
                </a:extLst>
              </p:cNvPr>
              <p:cNvSpPr/>
              <p:nvPr/>
            </p:nvSpPr>
            <p:spPr>
              <a:xfrm>
                <a:off x="6274534" y="2598384"/>
                <a:ext cx="358855" cy="476552"/>
              </a:xfrm>
              <a:custGeom>
                <a:avLst/>
                <a:gdLst>
                  <a:gd name="connsiteX0" fmla="*/ 62707 w 358855"/>
                  <a:gd name="connsiteY0" fmla="*/ 297530 h 476552"/>
                  <a:gd name="connsiteX1" fmla="*/ 115341 w 358855"/>
                  <a:gd name="connsiteY1" fmla="*/ 339362 h 476552"/>
                  <a:gd name="connsiteX2" fmla="*/ 183652 w 358855"/>
                  <a:gd name="connsiteY2" fmla="*/ 353739 h 476552"/>
                  <a:gd name="connsiteX3" fmla="*/ 273813 w 358855"/>
                  <a:gd name="connsiteY3" fmla="*/ 331483 h 476552"/>
                  <a:gd name="connsiteX4" fmla="*/ 336275 w 358855"/>
                  <a:gd name="connsiteY4" fmla="*/ 269020 h 476552"/>
                  <a:gd name="connsiteX5" fmla="*/ 358856 w 358855"/>
                  <a:gd name="connsiteY5" fmla="*/ 176504 h 476552"/>
                  <a:gd name="connsiteX6" fmla="*/ 336275 w 358855"/>
                  <a:gd name="connsiteY6" fmla="*/ 84312 h 476552"/>
                  <a:gd name="connsiteX7" fmla="*/ 273813 w 358855"/>
                  <a:gd name="connsiteY7" fmla="*/ 22256 h 476552"/>
                  <a:gd name="connsiteX8" fmla="*/ 183652 w 358855"/>
                  <a:gd name="connsiteY8" fmla="*/ 0 h 476552"/>
                  <a:gd name="connsiteX9" fmla="*/ 113067 w 358855"/>
                  <a:gd name="connsiteY9" fmla="*/ 14702 h 476552"/>
                  <a:gd name="connsiteX10" fmla="*/ 60107 w 358855"/>
                  <a:gd name="connsiteY10" fmla="*/ 58158 h 476552"/>
                  <a:gd name="connsiteX11" fmla="*/ 60107 w 358855"/>
                  <a:gd name="connsiteY11" fmla="*/ 3249 h 476552"/>
                  <a:gd name="connsiteX12" fmla="*/ 0 w 358855"/>
                  <a:gd name="connsiteY12" fmla="*/ 3249 h 476552"/>
                  <a:gd name="connsiteX13" fmla="*/ 0 w 358855"/>
                  <a:gd name="connsiteY13" fmla="*/ 476552 h 476552"/>
                  <a:gd name="connsiteX14" fmla="*/ 62788 w 358855"/>
                  <a:gd name="connsiteY14" fmla="*/ 476552 h 476552"/>
                  <a:gd name="connsiteX15" fmla="*/ 62788 w 358855"/>
                  <a:gd name="connsiteY15" fmla="*/ 297449 h 476552"/>
                  <a:gd name="connsiteX16" fmla="*/ 77408 w 358855"/>
                  <a:gd name="connsiteY16" fmla="*/ 113148 h 476552"/>
                  <a:gd name="connsiteX17" fmla="*/ 119239 w 358855"/>
                  <a:gd name="connsiteY17" fmla="*/ 70342 h 476552"/>
                  <a:gd name="connsiteX18" fmla="*/ 178372 w 358855"/>
                  <a:gd name="connsiteY18" fmla="*/ 54990 h 476552"/>
                  <a:gd name="connsiteX19" fmla="*/ 238154 w 358855"/>
                  <a:gd name="connsiteY19" fmla="*/ 70017 h 476552"/>
                  <a:gd name="connsiteX20" fmla="*/ 279986 w 358855"/>
                  <a:gd name="connsiteY20" fmla="*/ 112823 h 476552"/>
                  <a:gd name="connsiteX21" fmla="*/ 295338 w 358855"/>
                  <a:gd name="connsiteY21" fmla="*/ 176585 h 476552"/>
                  <a:gd name="connsiteX22" fmla="*/ 279986 w 358855"/>
                  <a:gd name="connsiteY22" fmla="*/ 240347 h 476552"/>
                  <a:gd name="connsiteX23" fmla="*/ 238154 w 358855"/>
                  <a:gd name="connsiteY23" fmla="*/ 283478 h 476552"/>
                  <a:gd name="connsiteX24" fmla="*/ 178372 w 358855"/>
                  <a:gd name="connsiteY24" fmla="*/ 298830 h 476552"/>
                  <a:gd name="connsiteX25" fmla="*/ 118915 w 358855"/>
                  <a:gd name="connsiteY25" fmla="*/ 283478 h 476552"/>
                  <a:gd name="connsiteX26" fmla="*/ 77083 w 358855"/>
                  <a:gd name="connsiteY26" fmla="*/ 240347 h 476552"/>
                  <a:gd name="connsiteX27" fmla="*/ 62057 w 358855"/>
                  <a:gd name="connsiteY27" fmla="*/ 176585 h 476552"/>
                  <a:gd name="connsiteX28" fmla="*/ 77408 w 358855"/>
                  <a:gd name="connsiteY28" fmla="*/ 113148 h 476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58855" h="476552">
                    <a:moveTo>
                      <a:pt x="62707" y="297530"/>
                    </a:moveTo>
                    <a:cubicBezTo>
                      <a:pt x="77083" y="315887"/>
                      <a:pt x="94628" y="329777"/>
                      <a:pt x="115341" y="339362"/>
                    </a:cubicBezTo>
                    <a:cubicBezTo>
                      <a:pt x="136053" y="348946"/>
                      <a:pt x="158797" y="353739"/>
                      <a:pt x="183652" y="353739"/>
                    </a:cubicBezTo>
                    <a:cubicBezTo>
                      <a:pt x="217198" y="353739"/>
                      <a:pt x="247252" y="346347"/>
                      <a:pt x="273813" y="331483"/>
                    </a:cubicBezTo>
                    <a:cubicBezTo>
                      <a:pt x="300374" y="316618"/>
                      <a:pt x="321249" y="295825"/>
                      <a:pt x="336275" y="269020"/>
                    </a:cubicBezTo>
                    <a:cubicBezTo>
                      <a:pt x="351302" y="242215"/>
                      <a:pt x="358856" y="211431"/>
                      <a:pt x="358856" y="176504"/>
                    </a:cubicBezTo>
                    <a:cubicBezTo>
                      <a:pt x="358856" y="141577"/>
                      <a:pt x="351302" y="110955"/>
                      <a:pt x="336275" y="84312"/>
                    </a:cubicBezTo>
                    <a:cubicBezTo>
                      <a:pt x="321249" y="57752"/>
                      <a:pt x="300374" y="37039"/>
                      <a:pt x="273813" y="22256"/>
                    </a:cubicBezTo>
                    <a:cubicBezTo>
                      <a:pt x="247252" y="7473"/>
                      <a:pt x="217198" y="0"/>
                      <a:pt x="183652" y="0"/>
                    </a:cubicBezTo>
                    <a:cubicBezTo>
                      <a:pt x="157903" y="0"/>
                      <a:pt x="134429" y="4874"/>
                      <a:pt x="113067" y="14702"/>
                    </a:cubicBezTo>
                    <a:cubicBezTo>
                      <a:pt x="91704" y="24530"/>
                      <a:pt x="74078" y="38988"/>
                      <a:pt x="60107" y="58158"/>
                    </a:cubicBezTo>
                    <a:lnTo>
                      <a:pt x="60107" y="3249"/>
                    </a:lnTo>
                    <a:lnTo>
                      <a:pt x="0" y="3249"/>
                    </a:lnTo>
                    <a:lnTo>
                      <a:pt x="0" y="476552"/>
                    </a:lnTo>
                    <a:lnTo>
                      <a:pt x="62788" y="476552"/>
                    </a:lnTo>
                    <a:lnTo>
                      <a:pt x="62788" y="297449"/>
                    </a:lnTo>
                    <a:close/>
                    <a:moveTo>
                      <a:pt x="77408" y="113148"/>
                    </a:moveTo>
                    <a:cubicBezTo>
                      <a:pt x="87643" y="94791"/>
                      <a:pt x="101614" y="80576"/>
                      <a:pt x="119239" y="70342"/>
                    </a:cubicBezTo>
                    <a:cubicBezTo>
                      <a:pt x="136866" y="60107"/>
                      <a:pt x="156604" y="54990"/>
                      <a:pt x="178372" y="54990"/>
                    </a:cubicBezTo>
                    <a:cubicBezTo>
                      <a:pt x="200141" y="54990"/>
                      <a:pt x="220528" y="60026"/>
                      <a:pt x="238154" y="70017"/>
                    </a:cubicBezTo>
                    <a:cubicBezTo>
                      <a:pt x="255780" y="80007"/>
                      <a:pt x="269751" y="94303"/>
                      <a:pt x="279986" y="112823"/>
                    </a:cubicBezTo>
                    <a:cubicBezTo>
                      <a:pt x="290220" y="131342"/>
                      <a:pt x="295338" y="152623"/>
                      <a:pt x="295338" y="176585"/>
                    </a:cubicBezTo>
                    <a:cubicBezTo>
                      <a:pt x="295338" y="200547"/>
                      <a:pt x="290220" y="221828"/>
                      <a:pt x="279986" y="240347"/>
                    </a:cubicBezTo>
                    <a:cubicBezTo>
                      <a:pt x="269751" y="258867"/>
                      <a:pt x="255780" y="273244"/>
                      <a:pt x="238154" y="283478"/>
                    </a:cubicBezTo>
                    <a:cubicBezTo>
                      <a:pt x="220528" y="293713"/>
                      <a:pt x="200547" y="298830"/>
                      <a:pt x="178372" y="298830"/>
                    </a:cubicBezTo>
                    <a:cubicBezTo>
                      <a:pt x="156198" y="298830"/>
                      <a:pt x="136785" y="293713"/>
                      <a:pt x="118915" y="283478"/>
                    </a:cubicBezTo>
                    <a:cubicBezTo>
                      <a:pt x="101045" y="273244"/>
                      <a:pt x="87074" y="258867"/>
                      <a:pt x="77083" y="240347"/>
                    </a:cubicBezTo>
                    <a:cubicBezTo>
                      <a:pt x="67011" y="221828"/>
                      <a:pt x="62057" y="200547"/>
                      <a:pt x="62057" y="176585"/>
                    </a:cubicBezTo>
                    <a:cubicBezTo>
                      <a:pt x="62057" y="152623"/>
                      <a:pt x="67174" y="131505"/>
                      <a:pt x="77408" y="11314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5" name="Полилиния: фигура 24">
                <a:extLst>
                  <a:ext uri="{FF2B5EF4-FFF2-40B4-BE49-F238E27FC236}">
                    <a16:creationId xmlns:a16="http://schemas.microsoft.com/office/drawing/2014/main" id="{A2EED33C-9630-404E-9186-CFB547A01A41}"/>
                  </a:ext>
                </a:extLst>
              </p:cNvPr>
              <p:cNvSpPr/>
              <p:nvPr/>
            </p:nvSpPr>
            <p:spPr>
              <a:xfrm>
                <a:off x="6692197" y="2598546"/>
                <a:ext cx="324253" cy="353576"/>
              </a:xfrm>
              <a:custGeom>
                <a:avLst/>
                <a:gdLst>
                  <a:gd name="connsiteX0" fmla="*/ 88617 w 324253"/>
                  <a:gd name="connsiteY0" fmla="*/ 330671 h 353576"/>
                  <a:gd name="connsiteX1" fmla="*/ 183083 w 324253"/>
                  <a:gd name="connsiteY1" fmla="*/ 353576 h 353576"/>
                  <a:gd name="connsiteX2" fmla="*/ 267071 w 324253"/>
                  <a:gd name="connsiteY2" fmla="*/ 334244 h 353576"/>
                  <a:gd name="connsiteX3" fmla="*/ 324253 w 324253"/>
                  <a:gd name="connsiteY3" fmla="*/ 279011 h 353576"/>
                  <a:gd name="connsiteX4" fmla="*/ 276493 w 324253"/>
                  <a:gd name="connsiteY4" fmla="*/ 248957 h 353576"/>
                  <a:gd name="connsiteX5" fmla="*/ 235961 w 324253"/>
                  <a:gd name="connsiteY5" fmla="*/ 286240 h 353576"/>
                  <a:gd name="connsiteX6" fmla="*/ 182352 w 324253"/>
                  <a:gd name="connsiteY6" fmla="*/ 298668 h 353576"/>
                  <a:gd name="connsiteX7" fmla="*/ 121270 w 324253"/>
                  <a:gd name="connsiteY7" fmla="*/ 283641 h 353576"/>
                  <a:gd name="connsiteX8" fmla="*/ 78789 w 324253"/>
                  <a:gd name="connsiteY8" fmla="*/ 240835 h 353576"/>
                  <a:gd name="connsiteX9" fmla="*/ 63437 w 324253"/>
                  <a:gd name="connsiteY9" fmla="*/ 176423 h 353576"/>
                  <a:gd name="connsiteX10" fmla="*/ 78789 w 324253"/>
                  <a:gd name="connsiteY10" fmla="*/ 112660 h 353576"/>
                  <a:gd name="connsiteX11" fmla="*/ 121270 w 324253"/>
                  <a:gd name="connsiteY11" fmla="*/ 69854 h 353576"/>
                  <a:gd name="connsiteX12" fmla="*/ 182352 w 324253"/>
                  <a:gd name="connsiteY12" fmla="*/ 54827 h 353576"/>
                  <a:gd name="connsiteX13" fmla="*/ 235961 w 324253"/>
                  <a:gd name="connsiteY13" fmla="*/ 67255 h 353576"/>
                  <a:gd name="connsiteX14" fmla="*/ 276493 w 324253"/>
                  <a:gd name="connsiteY14" fmla="*/ 104538 h 353576"/>
                  <a:gd name="connsiteX15" fmla="*/ 324253 w 324253"/>
                  <a:gd name="connsiteY15" fmla="*/ 73834 h 353576"/>
                  <a:gd name="connsiteX16" fmla="*/ 267071 w 324253"/>
                  <a:gd name="connsiteY16" fmla="*/ 18926 h 353576"/>
                  <a:gd name="connsiteX17" fmla="*/ 183083 w 324253"/>
                  <a:gd name="connsiteY17" fmla="*/ 0 h 353576"/>
                  <a:gd name="connsiteX18" fmla="*/ 88617 w 324253"/>
                  <a:gd name="connsiteY18" fmla="*/ 22581 h 353576"/>
                  <a:gd name="connsiteX19" fmla="*/ 23555 w 324253"/>
                  <a:gd name="connsiteY19" fmla="*/ 85368 h 353576"/>
                  <a:gd name="connsiteX20" fmla="*/ 0 w 324253"/>
                  <a:gd name="connsiteY20" fmla="*/ 176585 h 353576"/>
                  <a:gd name="connsiteX21" fmla="*/ 23555 w 324253"/>
                  <a:gd name="connsiteY21" fmla="*/ 267802 h 353576"/>
                  <a:gd name="connsiteX22" fmla="*/ 88617 w 324253"/>
                  <a:gd name="connsiteY22" fmla="*/ 330914 h 353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576">
                    <a:moveTo>
                      <a:pt x="88617" y="330671"/>
                    </a:moveTo>
                    <a:cubicBezTo>
                      <a:pt x="116315" y="345941"/>
                      <a:pt x="147831" y="353576"/>
                      <a:pt x="183083" y="353576"/>
                    </a:cubicBezTo>
                    <a:cubicBezTo>
                      <a:pt x="214436" y="353576"/>
                      <a:pt x="242459" y="347159"/>
                      <a:pt x="267071" y="334244"/>
                    </a:cubicBezTo>
                    <a:cubicBezTo>
                      <a:pt x="291682" y="321411"/>
                      <a:pt x="310770" y="302972"/>
                      <a:pt x="324253" y="279011"/>
                    </a:cubicBezTo>
                    <a:lnTo>
                      <a:pt x="276493" y="248957"/>
                    </a:lnTo>
                    <a:cubicBezTo>
                      <a:pt x="265608" y="265527"/>
                      <a:pt x="252125" y="277955"/>
                      <a:pt x="235961" y="286240"/>
                    </a:cubicBezTo>
                    <a:cubicBezTo>
                      <a:pt x="219878" y="294525"/>
                      <a:pt x="202009" y="298668"/>
                      <a:pt x="182352" y="298668"/>
                    </a:cubicBezTo>
                    <a:cubicBezTo>
                      <a:pt x="159690" y="298668"/>
                      <a:pt x="139302" y="293713"/>
                      <a:pt x="121270" y="283641"/>
                    </a:cubicBezTo>
                    <a:cubicBezTo>
                      <a:pt x="103156" y="273650"/>
                      <a:pt x="89023" y="259354"/>
                      <a:pt x="78789" y="240835"/>
                    </a:cubicBezTo>
                    <a:cubicBezTo>
                      <a:pt x="68555" y="222315"/>
                      <a:pt x="63437" y="200872"/>
                      <a:pt x="63437" y="176423"/>
                    </a:cubicBezTo>
                    <a:cubicBezTo>
                      <a:pt x="63437" y="151974"/>
                      <a:pt x="68555" y="131180"/>
                      <a:pt x="78789" y="112660"/>
                    </a:cubicBezTo>
                    <a:cubicBezTo>
                      <a:pt x="89023" y="94141"/>
                      <a:pt x="103156" y="79845"/>
                      <a:pt x="121270" y="69854"/>
                    </a:cubicBezTo>
                    <a:cubicBezTo>
                      <a:pt x="139302" y="59863"/>
                      <a:pt x="159690" y="54827"/>
                      <a:pt x="182352" y="54827"/>
                    </a:cubicBezTo>
                    <a:cubicBezTo>
                      <a:pt x="201927" y="54827"/>
                      <a:pt x="219797" y="58970"/>
                      <a:pt x="235961" y="67255"/>
                    </a:cubicBezTo>
                    <a:cubicBezTo>
                      <a:pt x="252125" y="75540"/>
                      <a:pt x="265608" y="87968"/>
                      <a:pt x="276493" y="104538"/>
                    </a:cubicBezTo>
                    <a:lnTo>
                      <a:pt x="324253" y="73834"/>
                    </a:lnTo>
                    <a:cubicBezTo>
                      <a:pt x="310770" y="49873"/>
                      <a:pt x="291682" y="31516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5" y="7554"/>
                      <a:pt x="88617" y="22581"/>
                    </a:cubicBezTo>
                    <a:cubicBezTo>
                      <a:pt x="60919" y="37608"/>
                      <a:pt x="39313" y="58564"/>
                      <a:pt x="23555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5" y="267802"/>
                    </a:cubicBezTo>
                    <a:cubicBezTo>
                      <a:pt x="39232" y="294606"/>
                      <a:pt x="60919" y="315644"/>
                      <a:pt x="88617" y="3309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6" name="Полилиния: фигура 25">
                <a:extLst>
                  <a:ext uri="{FF2B5EF4-FFF2-40B4-BE49-F238E27FC236}">
                    <a16:creationId xmlns:a16="http://schemas.microsoft.com/office/drawing/2014/main" id="{C6B226C4-E861-471E-ACE2-938D2EA71AA7}"/>
                  </a:ext>
                </a:extLst>
              </p:cNvPr>
              <p:cNvSpPr/>
              <p:nvPr/>
            </p:nvSpPr>
            <p:spPr>
              <a:xfrm>
                <a:off x="7034808" y="2601714"/>
                <a:ext cx="316374" cy="346509"/>
              </a:xfrm>
              <a:custGeom>
                <a:avLst/>
                <a:gdLst>
                  <a:gd name="connsiteX0" fmla="*/ 0 w 316374"/>
                  <a:gd name="connsiteY0" fmla="*/ 54909 h 346509"/>
                  <a:gd name="connsiteX1" fmla="*/ 126793 w 316374"/>
                  <a:gd name="connsiteY1" fmla="*/ 54909 h 346509"/>
                  <a:gd name="connsiteX2" fmla="*/ 126793 w 316374"/>
                  <a:gd name="connsiteY2" fmla="*/ 346510 h 346509"/>
                  <a:gd name="connsiteX3" fmla="*/ 189581 w 316374"/>
                  <a:gd name="connsiteY3" fmla="*/ 346510 h 346509"/>
                  <a:gd name="connsiteX4" fmla="*/ 189581 w 316374"/>
                  <a:gd name="connsiteY4" fmla="*/ 54909 h 346509"/>
                  <a:gd name="connsiteX5" fmla="*/ 316375 w 316374"/>
                  <a:gd name="connsiteY5" fmla="*/ 54909 h 346509"/>
                  <a:gd name="connsiteX6" fmla="*/ 316375 w 316374"/>
                  <a:gd name="connsiteY6" fmla="*/ 0 h 346509"/>
                  <a:gd name="connsiteX7" fmla="*/ 0 w 316374"/>
                  <a:gd name="connsiteY7" fmla="*/ 0 h 346509"/>
                  <a:gd name="connsiteX8" fmla="*/ 0 w 316374"/>
                  <a:gd name="connsiteY8" fmla="*/ 54909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374" h="346509">
                    <a:moveTo>
                      <a:pt x="0" y="54909"/>
                    </a:moveTo>
                    <a:lnTo>
                      <a:pt x="126793" y="54909"/>
                    </a:lnTo>
                    <a:lnTo>
                      <a:pt x="126793" y="346510"/>
                    </a:lnTo>
                    <a:lnTo>
                      <a:pt x="189581" y="346510"/>
                    </a:lnTo>
                    <a:lnTo>
                      <a:pt x="189581" y="54909"/>
                    </a:lnTo>
                    <a:lnTo>
                      <a:pt x="316375" y="54909"/>
                    </a:lnTo>
                    <a:lnTo>
                      <a:pt x="316375" y="0"/>
                    </a:lnTo>
                    <a:lnTo>
                      <a:pt x="0" y="0"/>
                    </a:lnTo>
                    <a:lnTo>
                      <a:pt x="0" y="5490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7" name="Полилиния: фигура 26">
                <a:extLst>
                  <a:ext uri="{FF2B5EF4-FFF2-40B4-BE49-F238E27FC236}">
                    <a16:creationId xmlns:a16="http://schemas.microsoft.com/office/drawing/2014/main" id="{D4C16207-31C4-40E3-B294-83BFE0B2A4F0}"/>
                  </a:ext>
                </a:extLst>
              </p:cNvPr>
              <p:cNvSpPr/>
              <p:nvPr/>
            </p:nvSpPr>
            <p:spPr>
              <a:xfrm>
                <a:off x="7415188" y="2601714"/>
                <a:ext cx="303378" cy="346428"/>
              </a:xfrm>
              <a:custGeom>
                <a:avLst/>
                <a:gdLst>
                  <a:gd name="connsiteX0" fmla="*/ 269020 w 303378"/>
                  <a:gd name="connsiteY0" fmla="*/ 321654 h 346428"/>
                  <a:gd name="connsiteX1" fmla="*/ 303379 w 303378"/>
                  <a:gd name="connsiteY1" fmla="*/ 251069 h 346428"/>
                  <a:gd name="connsiteX2" fmla="*/ 236042 w 303378"/>
                  <a:gd name="connsiteY2" fmla="*/ 166757 h 346428"/>
                  <a:gd name="connsiteX3" fmla="*/ 276899 w 303378"/>
                  <a:gd name="connsiteY3" fmla="*/ 136378 h 346428"/>
                  <a:gd name="connsiteX4" fmla="*/ 291601 w 303378"/>
                  <a:gd name="connsiteY4" fmla="*/ 88942 h 346428"/>
                  <a:gd name="connsiteX5" fmla="*/ 256917 w 303378"/>
                  <a:gd name="connsiteY5" fmla="*/ 23231 h 346428"/>
                  <a:gd name="connsiteX6" fmla="*/ 160828 w 303378"/>
                  <a:gd name="connsiteY6" fmla="*/ 0 h 346428"/>
                  <a:gd name="connsiteX7" fmla="*/ 0 w 303378"/>
                  <a:gd name="connsiteY7" fmla="*/ 0 h 346428"/>
                  <a:gd name="connsiteX8" fmla="*/ 0 w 303378"/>
                  <a:gd name="connsiteY8" fmla="*/ 346428 h 346428"/>
                  <a:gd name="connsiteX9" fmla="*/ 166676 w 303378"/>
                  <a:gd name="connsiteY9" fmla="*/ 346428 h 346428"/>
                  <a:gd name="connsiteX10" fmla="*/ 269020 w 303378"/>
                  <a:gd name="connsiteY10" fmla="*/ 321573 h 346428"/>
                  <a:gd name="connsiteX11" fmla="*/ 61488 w 303378"/>
                  <a:gd name="connsiteY11" fmla="*/ 48411 h 346428"/>
                  <a:gd name="connsiteX12" fmla="*/ 155629 w 303378"/>
                  <a:gd name="connsiteY12" fmla="*/ 48411 h 346428"/>
                  <a:gd name="connsiteX13" fmla="*/ 228814 w 303378"/>
                  <a:gd name="connsiteY13" fmla="*/ 98121 h 346428"/>
                  <a:gd name="connsiteX14" fmla="*/ 210132 w 303378"/>
                  <a:gd name="connsiteY14" fmla="*/ 136053 h 346428"/>
                  <a:gd name="connsiteX15" fmla="*/ 155548 w 303378"/>
                  <a:gd name="connsiteY15" fmla="*/ 149131 h 346428"/>
                  <a:gd name="connsiteX16" fmla="*/ 61407 w 303378"/>
                  <a:gd name="connsiteY16" fmla="*/ 149131 h 346428"/>
                  <a:gd name="connsiteX17" fmla="*/ 61407 w 303378"/>
                  <a:gd name="connsiteY17" fmla="*/ 48411 h 346428"/>
                  <a:gd name="connsiteX18" fmla="*/ 61488 w 303378"/>
                  <a:gd name="connsiteY18" fmla="*/ 298099 h 346428"/>
                  <a:gd name="connsiteX19" fmla="*/ 61488 w 303378"/>
                  <a:gd name="connsiteY19" fmla="*/ 194130 h 346428"/>
                  <a:gd name="connsiteX20" fmla="*/ 166107 w 303378"/>
                  <a:gd name="connsiteY20" fmla="*/ 194130 h 346428"/>
                  <a:gd name="connsiteX21" fmla="*/ 222640 w 303378"/>
                  <a:gd name="connsiteY21" fmla="*/ 207207 h 346428"/>
                  <a:gd name="connsiteX22" fmla="*/ 240591 w 303378"/>
                  <a:gd name="connsiteY22" fmla="*/ 247089 h 346428"/>
                  <a:gd name="connsiteX23" fmla="*/ 221016 w 303378"/>
                  <a:gd name="connsiteY23" fmla="*/ 285671 h 346428"/>
                  <a:gd name="connsiteX24" fmla="*/ 162127 w 303378"/>
                  <a:gd name="connsiteY24" fmla="*/ 298099 h 346428"/>
                  <a:gd name="connsiteX25" fmla="*/ 61488 w 303378"/>
                  <a:gd name="connsiteY25" fmla="*/ 29809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03378" h="346428">
                    <a:moveTo>
                      <a:pt x="269020" y="321654"/>
                    </a:moveTo>
                    <a:cubicBezTo>
                      <a:pt x="291926" y="305084"/>
                      <a:pt x="303379" y="281529"/>
                      <a:pt x="303379" y="251069"/>
                    </a:cubicBezTo>
                    <a:cubicBezTo>
                      <a:pt x="303379" y="206151"/>
                      <a:pt x="280960" y="178047"/>
                      <a:pt x="236042" y="166757"/>
                    </a:cubicBezTo>
                    <a:cubicBezTo>
                      <a:pt x="253506" y="159771"/>
                      <a:pt x="267152" y="149699"/>
                      <a:pt x="276899" y="136378"/>
                    </a:cubicBezTo>
                    <a:cubicBezTo>
                      <a:pt x="286728" y="123057"/>
                      <a:pt x="291601" y="107299"/>
                      <a:pt x="291601" y="88942"/>
                    </a:cubicBezTo>
                    <a:cubicBezTo>
                      <a:pt x="291601" y="60594"/>
                      <a:pt x="280067" y="38745"/>
                      <a:pt x="256917" y="23231"/>
                    </a:cubicBezTo>
                    <a:cubicBezTo>
                      <a:pt x="233768" y="7798"/>
                      <a:pt x="201765" y="0"/>
                      <a:pt x="160828" y="0"/>
                    </a:cubicBezTo>
                    <a:lnTo>
                      <a:pt x="0" y="0"/>
                    </a:lnTo>
                    <a:lnTo>
                      <a:pt x="0" y="346428"/>
                    </a:lnTo>
                    <a:lnTo>
                      <a:pt x="166676" y="346428"/>
                    </a:lnTo>
                    <a:cubicBezTo>
                      <a:pt x="212000" y="346428"/>
                      <a:pt x="246115" y="338143"/>
                      <a:pt x="269020" y="321573"/>
                    </a:cubicBezTo>
                    <a:close/>
                    <a:moveTo>
                      <a:pt x="61488" y="48411"/>
                    </a:moveTo>
                    <a:lnTo>
                      <a:pt x="155629" y="48411"/>
                    </a:lnTo>
                    <a:cubicBezTo>
                      <a:pt x="204446" y="48411"/>
                      <a:pt x="228814" y="64981"/>
                      <a:pt x="228814" y="98121"/>
                    </a:cubicBezTo>
                    <a:cubicBezTo>
                      <a:pt x="228814" y="114691"/>
                      <a:pt x="222559" y="127281"/>
                      <a:pt x="210132" y="136053"/>
                    </a:cubicBezTo>
                    <a:cubicBezTo>
                      <a:pt x="197704" y="144744"/>
                      <a:pt x="179509" y="149131"/>
                      <a:pt x="155548" y="149131"/>
                    </a:cubicBezTo>
                    <a:lnTo>
                      <a:pt x="61407" y="149131"/>
                    </a:lnTo>
                    <a:lnTo>
                      <a:pt x="61407" y="48411"/>
                    </a:lnTo>
                    <a:close/>
                    <a:moveTo>
                      <a:pt x="61488" y="298099"/>
                    </a:moveTo>
                    <a:lnTo>
                      <a:pt x="61488" y="194130"/>
                    </a:lnTo>
                    <a:lnTo>
                      <a:pt x="166107" y="194130"/>
                    </a:lnTo>
                    <a:cubicBezTo>
                      <a:pt x="191856" y="194130"/>
                      <a:pt x="210700" y="198516"/>
                      <a:pt x="222640" y="207207"/>
                    </a:cubicBezTo>
                    <a:cubicBezTo>
                      <a:pt x="234580" y="215898"/>
                      <a:pt x="240591" y="229219"/>
                      <a:pt x="240591" y="247089"/>
                    </a:cubicBezTo>
                    <a:cubicBezTo>
                      <a:pt x="240591" y="264959"/>
                      <a:pt x="234012" y="277386"/>
                      <a:pt x="221016" y="285671"/>
                    </a:cubicBezTo>
                    <a:cubicBezTo>
                      <a:pt x="207938" y="293956"/>
                      <a:pt x="188363" y="298099"/>
                      <a:pt x="162127" y="298099"/>
                    </a:cubicBezTo>
                    <a:lnTo>
                      <a:pt x="61488" y="29809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8" name="Полилиния: фигура 27">
                <a:extLst>
                  <a:ext uri="{FF2B5EF4-FFF2-40B4-BE49-F238E27FC236}">
                    <a16:creationId xmlns:a16="http://schemas.microsoft.com/office/drawing/2014/main" id="{5BDB55F7-B534-4BF3-8E59-CCABCDBD1378}"/>
                  </a:ext>
                </a:extLst>
              </p:cNvPr>
              <p:cNvSpPr/>
              <p:nvPr/>
            </p:nvSpPr>
            <p:spPr>
              <a:xfrm>
                <a:off x="7784522" y="2598303"/>
                <a:ext cx="360317" cy="353819"/>
              </a:xfrm>
              <a:custGeom>
                <a:avLst/>
                <a:gdLst>
                  <a:gd name="connsiteX0" fmla="*/ 87643 w 360317"/>
                  <a:gd name="connsiteY0" fmla="*/ 330914 h 353819"/>
                  <a:gd name="connsiteX1" fmla="*/ 180484 w 360317"/>
                  <a:gd name="connsiteY1" fmla="*/ 353820 h 353819"/>
                  <a:gd name="connsiteX2" fmla="*/ 273000 w 360317"/>
                  <a:gd name="connsiteY2" fmla="*/ 330914 h 353819"/>
                  <a:gd name="connsiteX3" fmla="*/ 337087 w 360317"/>
                  <a:gd name="connsiteY3" fmla="*/ 267802 h 353819"/>
                  <a:gd name="connsiteX4" fmla="*/ 360318 w 360317"/>
                  <a:gd name="connsiteY4" fmla="*/ 176585 h 353819"/>
                  <a:gd name="connsiteX5" fmla="*/ 337087 w 360317"/>
                  <a:gd name="connsiteY5" fmla="*/ 85368 h 353819"/>
                  <a:gd name="connsiteX6" fmla="*/ 273000 w 360317"/>
                  <a:gd name="connsiteY6" fmla="*/ 22581 h 353819"/>
                  <a:gd name="connsiteX7" fmla="*/ 180484 w 360317"/>
                  <a:gd name="connsiteY7" fmla="*/ 0 h 353819"/>
                  <a:gd name="connsiteX8" fmla="*/ 87643 w 360317"/>
                  <a:gd name="connsiteY8" fmla="*/ 22581 h 353819"/>
                  <a:gd name="connsiteX9" fmla="*/ 23230 w 360317"/>
                  <a:gd name="connsiteY9" fmla="*/ 85368 h 353819"/>
                  <a:gd name="connsiteX10" fmla="*/ 0 w 360317"/>
                  <a:gd name="connsiteY10" fmla="*/ 176585 h 353819"/>
                  <a:gd name="connsiteX11" fmla="*/ 23230 w 360317"/>
                  <a:gd name="connsiteY11" fmla="*/ 267802 h 353819"/>
                  <a:gd name="connsiteX12" fmla="*/ 87643 w 360317"/>
                  <a:gd name="connsiteY12" fmla="*/ 330914 h 353819"/>
                  <a:gd name="connsiteX13" fmla="*/ 78870 w 360317"/>
                  <a:gd name="connsiteY13" fmla="*/ 112904 h 353819"/>
                  <a:gd name="connsiteX14" fmla="*/ 120701 w 360317"/>
                  <a:gd name="connsiteY14" fmla="*/ 70098 h 353819"/>
                  <a:gd name="connsiteX15" fmla="*/ 180484 w 360317"/>
                  <a:gd name="connsiteY15" fmla="*/ 55071 h 353819"/>
                  <a:gd name="connsiteX16" fmla="*/ 240347 w 360317"/>
                  <a:gd name="connsiteY16" fmla="*/ 70098 h 353819"/>
                  <a:gd name="connsiteX17" fmla="*/ 281854 w 360317"/>
                  <a:gd name="connsiteY17" fmla="*/ 112904 h 353819"/>
                  <a:gd name="connsiteX18" fmla="*/ 296880 w 360317"/>
                  <a:gd name="connsiteY18" fmla="*/ 176666 h 353819"/>
                  <a:gd name="connsiteX19" fmla="*/ 281854 w 360317"/>
                  <a:gd name="connsiteY19" fmla="*/ 240429 h 353819"/>
                  <a:gd name="connsiteX20" fmla="*/ 240347 w 360317"/>
                  <a:gd name="connsiteY20" fmla="*/ 283559 h 353819"/>
                  <a:gd name="connsiteX21" fmla="*/ 180484 w 360317"/>
                  <a:gd name="connsiteY21" fmla="*/ 298911 h 353819"/>
                  <a:gd name="connsiteX22" fmla="*/ 120701 w 360317"/>
                  <a:gd name="connsiteY22" fmla="*/ 283559 h 353819"/>
                  <a:gd name="connsiteX23" fmla="*/ 78870 w 360317"/>
                  <a:gd name="connsiteY23" fmla="*/ 240429 h 353819"/>
                  <a:gd name="connsiteX24" fmla="*/ 63519 w 360317"/>
                  <a:gd name="connsiteY24" fmla="*/ 176666 h 353819"/>
                  <a:gd name="connsiteX25" fmla="*/ 78870 w 360317"/>
                  <a:gd name="connsiteY25" fmla="*/ 112904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87643" y="330914"/>
                    </a:move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ubicBezTo>
                      <a:pt x="300211" y="315644"/>
                      <a:pt x="321573" y="294606"/>
                      <a:pt x="337087" y="267802"/>
                    </a:cubicBezTo>
                    <a:cubicBezTo>
                      <a:pt x="352520" y="240997"/>
                      <a:pt x="360318" y="210619"/>
                      <a:pt x="360318" y="176585"/>
                    </a:cubicBezTo>
                    <a:cubicBezTo>
                      <a:pt x="360318" y="142551"/>
                      <a:pt x="352601" y="112173"/>
                      <a:pt x="337087" y="85368"/>
                    </a:cubicBezTo>
                    <a:cubicBezTo>
                      <a:pt x="321573" y="58564"/>
                      <a:pt x="300292" y="37689"/>
                      <a:pt x="273000" y="22581"/>
                    </a:cubicBezTo>
                    <a:cubicBezTo>
                      <a:pt x="245708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8" y="37608"/>
                      <a:pt x="38745" y="58564"/>
                      <a:pt x="23230" y="85368"/>
                    </a:cubicBezTo>
                    <a:cubicBezTo>
                      <a:pt x="7717" y="112173"/>
                      <a:pt x="0" y="142551"/>
                      <a:pt x="0" y="176585"/>
                    </a:cubicBezTo>
                    <a:cubicBezTo>
                      <a:pt x="0" y="210619"/>
                      <a:pt x="7717" y="240997"/>
                      <a:pt x="23230" y="267802"/>
                    </a:cubicBezTo>
                    <a:cubicBezTo>
                      <a:pt x="38664" y="294606"/>
                      <a:pt x="60188" y="315644"/>
                      <a:pt x="87643" y="330914"/>
                    </a:cubicBezTo>
                    <a:close/>
                    <a:moveTo>
                      <a:pt x="78870" y="112904"/>
                    </a:moveTo>
                    <a:cubicBezTo>
                      <a:pt x="89105" y="94384"/>
                      <a:pt x="103076" y="80089"/>
                      <a:pt x="120701" y="70098"/>
                    </a:cubicBezTo>
                    <a:cubicBezTo>
                      <a:pt x="138327" y="60107"/>
                      <a:pt x="158309" y="55071"/>
                      <a:pt x="180484" y="55071"/>
                    </a:cubicBezTo>
                    <a:cubicBezTo>
                      <a:pt x="202659" y="55071"/>
                      <a:pt x="222640" y="60107"/>
                      <a:pt x="240347" y="70098"/>
                    </a:cubicBezTo>
                    <a:cubicBezTo>
                      <a:pt x="257973" y="80089"/>
                      <a:pt x="271863" y="94384"/>
                      <a:pt x="281854" y="112904"/>
                    </a:cubicBezTo>
                    <a:cubicBezTo>
                      <a:pt x="291844" y="131423"/>
                      <a:pt x="296880" y="152705"/>
                      <a:pt x="296880" y="176666"/>
                    </a:cubicBezTo>
                    <a:cubicBezTo>
                      <a:pt x="296880" y="200628"/>
                      <a:pt x="291844" y="221909"/>
                      <a:pt x="281854" y="240429"/>
                    </a:cubicBezTo>
                    <a:cubicBezTo>
                      <a:pt x="271863" y="258948"/>
                      <a:pt x="257973" y="273325"/>
                      <a:pt x="240347" y="283559"/>
                    </a:cubicBezTo>
                    <a:cubicBezTo>
                      <a:pt x="222721" y="293794"/>
                      <a:pt x="202740" y="298911"/>
                      <a:pt x="180484" y="298911"/>
                    </a:cubicBezTo>
                    <a:cubicBezTo>
                      <a:pt x="158228" y="298911"/>
                      <a:pt x="138327" y="293794"/>
                      <a:pt x="120701" y="283559"/>
                    </a:cubicBezTo>
                    <a:cubicBezTo>
                      <a:pt x="103076" y="273325"/>
                      <a:pt x="89105" y="258948"/>
                      <a:pt x="78870" y="240429"/>
                    </a:cubicBezTo>
                    <a:cubicBezTo>
                      <a:pt x="68636" y="221909"/>
                      <a:pt x="63519" y="200628"/>
                      <a:pt x="63519" y="176666"/>
                    </a:cubicBezTo>
                    <a:cubicBezTo>
                      <a:pt x="63519" y="152705"/>
                      <a:pt x="68636" y="131423"/>
                      <a:pt x="78870" y="1129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29" name="Полилиния: фигура 28">
                <a:extLst>
                  <a:ext uri="{FF2B5EF4-FFF2-40B4-BE49-F238E27FC236}">
                    <a16:creationId xmlns:a16="http://schemas.microsoft.com/office/drawing/2014/main" id="{E557C28B-73F2-46B6-8EDE-1A710FA38164}"/>
                  </a:ext>
                </a:extLst>
              </p:cNvPr>
              <p:cNvSpPr/>
              <p:nvPr/>
            </p:nvSpPr>
            <p:spPr>
              <a:xfrm>
                <a:off x="3160822" y="3382132"/>
                <a:ext cx="332132" cy="355119"/>
              </a:xfrm>
              <a:custGeom>
                <a:avLst/>
                <a:gdLst>
                  <a:gd name="connsiteX0" fmla="*/ 229463 w 332132"/>
                  <a:gd name="connsiteY0" fmla="*/ 274381 h 355119"/>
                  <a:gd name="connsiteX1" fmla="*/ 142551 w 332132"/>
                  <a:gd name="connsiteY1" fmla="*/ 303460 h 355119"/>
                  <a:gd name="connsiteX2" fmla="*/ 36633 w 332132"/>
                  <a:gd name="connsiteY2" fmla="*/ 262278 h 355119"/>
                  <a:gd name="connsiteX3" fmla="*/ 0 w 332132"/>
                  <a:gd name="connsiteY3" fmla="*/ 298911 h 355119"/>
                  <a:gd name="connsiteX4" fmla="*/ 62462 w 332132"/>
                  <a:gd name="connsiteY4" fmla="*/ 340742 h 355119"/>
                  <a:gd name="connsiteX5" fmla="*/ 145151 w 332132"/>
                  <a:gd name="connsiteY5" fmla="*/ 355119 h 355119"/>
                  <a:gd name="connsiteX6" fmla="*/ 240916 w 332132"/>
                  <a:gd name="connsiteY6" fmla="*/ 332214 h 355119"/>
                  <a:gd name="connsiteX7" fmla="*/ 307927 w 332132"/>
                  <a:gd name="connsiteY7" fmla="*/ 268776 h 355119"/>
                  <a:gd name="connsiteX8" fmla="*/ 332132 w 332132"/>
                  <a:gd name="connsiteY8" fmla="*/ 177235 h 355119"/>
                  <a:gd name="connsiteX9" fmla="*/ 307927 w 332132"/>
                  <a:gd name="connsiteY9" fmla="*/ 86343 h 355119"/>
                  <a:gd name="connsiteX10" fmla="*/ 240916 w 332132"/>
                  <a:gd name="connsiteY10" fmla="*/ 22906 h 355119"/>
                  <a:gd name="connsiteX11" fmla="*/ 145151 w 332132"/>
                  <a:gd name="connsiteY11" fmla="*/ 0 h 355119"/>
                  <a:gd name="connsiteX12" fmla="*/ 62787 w 332132"/>
                  <a:gd name="connsiteY12" fmla="*/ 14377 h 355119"/>
                  <a:gd name="connsiteX13" fmla="*/ 0 w 332132"/>
                  <a:gd name="connsiteY13" fmla="*/ 56858 h 355119"/>
                  <a:gd name="connsiteX14" fmla="*/ 36633 w 332132"/>
                  <a:gd name="connsiteY14" fmla="*/ 92841 h 355119"/>
                  <a:gd name="connsiteX15" fmla="*/ 142551 w 332132"/>
                  <a:gd name="connsiteY15" fmla="*/ 51010 h 355119"/>
                  <a:gd name="connsiteX16" fmla="*/ 227513 w 332132"/>
                  <a:gd name="connsiteY16" fmla="*/ 78789 h 355119"/>
                  <a:gd name="connsiteX17" fmla="*/ 271294 w 332132"/>
                  <a:gd name="connsiteY17" fmla="*/ 151649 h 355119"/>
                  <a:gd name="connsiteX18" fmla="*/ 98689 w 332132"/>
                  <a:gd name="connsiteY18" fmla="*/ 151649 h 355119"/>
                  <a:gd name="connsiteX19" fmla="*/ 98689 w 332132"/>
                  <a:gd name="connsiteY19" fmla="*/ 198029 h 355119"/>
                  <a:gd name="connsiteX20" fmla="*/ 272594 w 332132"/>
                  <a:gd name="connsiteY20" fmla="*/ 198029 h 355119"/>
                  <a:gd name="connsiteX21" fmla="*/ 229463 w 332132"/>
                  <a:gd name="connsiteY21" fmla="*/ 274219 h 355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32132" h="355119">
                    <a:moveTo>
                      <a:pt x="229463" y="274381"/>
                    </a:moveTo>
                    <a:cubicBezTo>
                      <a:pt x="205501" y="293794"/>
                      <a:pt x="176504" y="303460"/>
                      <a:pt x="142551" y="303460"/>
                    </a:cubicBezTo>
                    <a:cubicBezTo>
                      <a:pt x="99826" y="303460"/>
                      <a:pt x="64574" y="289733"/>
                      <a:pt x="36633" y="262278"/>
                    </a:cubicBezTo>
                    <a:lnTo>
                      <a:pt x="0" y="298911"/>
                    </a:lnTo>
                    <a:cubicBezTo>
                      <a:pt x="16976" y="317268"/>
                      <a:pt x="37851" y="331158"/>
                      <a:pt x="62462" y="340742"/>
                    </a:cubicBezTo>
                    <a:cubicBezTo>
                      <a:pt x="87074" y="350327"/>
                      <a:pt x="114610" y="355119"/>
                      <a:pt x="145151" y="355119"/>
                    </a:cubicBezTo>
                    <a:cubicBezTo>
                      <a:pt x="180484" y="355119"/>
                      <a:pt x="212406" y="347484"/>
                      <a:pt x="240916" y="332214"/>
                    </a:cubicBezTo>
                    <a:cubicBezTo>
                      <a:pt x="269426" y="316943"/>
                      <a:pt x="291763" y="295825"/>
                      <a:pt x="307927" y="268776"/>
                    </a:cubicBezTo>
                    <a:cubicBezTo>
                      <a:pt x="324010" y="241728"/>
                      <a:pt x="332132" y="211269"/>
                      <a:pt x="332132" y="177235"/>
                    </a:cubicBezTo>
                    <a:cubicBezTo>
                      <a:pt x="332132" y="143201"/>
                      <a:pt x="324091" y="113391"/>
                      <a:pt x="307927" y="86343"/>
                    </a:cubicBezTo>
                    <a:cubicBezTo>
                      <a:pt x="291763" y="59295"/>
                      <a:pt x="269426" y="38176"/>
                      <a:pt x="240916" y="22906"/>
                    </a:cubicBezTo>
                    <a:cubicBezTo>
                      <a:pt x="212406" y="7635"/>
                      <a:pt x="180484" y="0"/>
                      <a:pt x="145151" y="0"/>
                    </a:cubicBezTo>
                    <a:cubicBezTo>
                      <a:pt x="115097" y="0"/>
                      <a:pt x="87643" y="4792"/>
                      <a:pt x="62787" y="14377"/>
                    </a:cubicBezTo>
                    <a:cubicBezTo>
                      <a:pt x="37932" y="23962"/>
                      <a:pt x="17057" y="38176"/>
                      <a:pt x="0" y="56858"/>
                    </a:cubicBezTo>
                    <a:lnTo>
                      <a:pt x="36633" y="92841"/>
                    </a:lnTo>
                    <a:cubicBezTo>
                      <a:pt x="64981" y="64981"/>
                      <a:pt x="100233" y="51010"/>
                      <a:pt x="142551" y="51010"/>
                    </a:cubicBezTo>
                    <a:cubicBezTo>
                      <a:pt x="175691" y="51010"/>
                      <a:pt x="203958" y="60270"/>
                      <a:pt x="227513" y="78789"/>
                    </a:cubicBezTo>
                    <a:cubicBezTo>
                      <a:pt x="251069" y="97309"/>
                      <a:pt x="265690" y="121595"/>
                      <a:pt x="271294" y="151649"/>
                    </a:cubicBezTo>
                    <a:lnTo>
                      <a:pt x="98689" y="151649"/>
                    </a:lnTo>
                    <a:lnTo>
                      <a:pt x="98689" y="198029"/>
                    </a:lnTo>
                    <a:lnTo>
                      <a:pt x="272594" y="198029"/>
                    </a:lnTo>
                    <a:cubicBezTo>
                      <a:pt x="267801" y="229382"/>
                      <a:pt x="253425" y="254806"/>
                      <a:pt x="229463" y="27421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0" name="Полилиния: фигура 29">
                <a:extLst>
                  <a:ext uri="{FF2B5EF4-FFF2-40B4-BE49-F238E27FC236}">
                    <a16:creationId xmlns:a16="http://schemas.microsoft.com/office/drawing/2014/main" id="{6571EAE8-C9B8-49F9-820D-1B859FED9161}"/>
                  </a:ext>
                </a:extLst>
              </p:cNvPr>
              <p:cNvSpPr/>
              <p:nvPr/>
            </p:nvSpPr>
            <p:spPr>
              <a:xfrm>
                <a:off x="3581897" y="3386193"/>
                <a:ext cx="324903" cy="346428"/>
              </a:xfrm>
              <a:custGeom>
                <a:avLst/>
                <a:gdLst>
                  <a:gd name="connsiteX0" fmla="*/ 62706 w 324903"/>
                  <a:gd name="connsiteY0" fmla="*/ 0 h 346428"/>
                  <a:gd name="connsiteX1" fmla="*/ 0 w 324903"/>
                  <a:gd name="connsiteY1" fmla="*/ 0 h 346428"/>
                  <a:gd name="connsiteX2" fmla="*/ 0 w 324903"/>
                  <a:gd name="connsiteY2" fmla="*/ 346428 h 346428"/>
                  <a:gd name="connsiteX3" fmla="*/ 62706 w 324903"/>
                  <a:gd name="connsiteY3" fmla="*/ 346428 h 346428"/>
                  <a:gd name="connsiteX4" fmla="*/ 62706 w 324903"/>
                  <a:gd name="connsiteY4" fmla="*/ 200059 h 346428"/>
                  <a:gd name="connsiteX5" fmla="*/ 134672 w 324903"/>
                  <a:gd name="connsiteY5" fmla="*/ 200059 h 346428"/>
                  <a:gd name="connsiteX6" fmla="*/ 250988 w 324903"/>
                  <a:gd name="connsiteY6" fmla="*/ 346428 h 346428"/>
                  <a:gd name="connsiteX7" fmla="*/ 324903 w 324903"/>
                  <a:gd name="connsiteY7" fmla="*/ 346428 h 346428"/>
                  <a:gd name="connsiteX8" fmla="*/ 184301 w 324903"/>
                  <a:gd name="connsiteY8" fmla="*/ 166676 h 346428"/>
                  <a:gd name="connsiteX9" fmla="*/ 315725 w 324903"/>
                  <a:gd name="connsiteY9" fmla="*/ 0 h 346428"/>
                  <a:gd name="connsiteX10" fmla="*/ 248389 w 324903"/>
                  <a:gd name="connsiteY10" fmla="*/ 0 h 346428"/>
                  <a:gd name="connsiteX11" fmla="*/ 135972 w 324903"/>
                  <a:gd name="connsiteY11" fmla="*/ 146450 h 346428"/>
                  <a:gd name="connsiteX12" fmla="*/ 62706 w 324903"/>
                  <a:gd name="connsiteY12" fmla="*/ 146450 h 346428"/>
                  <a:gd name="connsiteX13" fmla="*/ 62706 w 324903"/>
                  <a:gd name="connsiteY13" fmla="*/ 0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4903" h="346428">
                    <a:moveTo>
                      <a:pt x="62706" y="0"/>
                    </a:moveTo>
                    <a:lnTo>
                      <a:pt x="0" y="0"/>
                    </a:lnTo>
                    <a:lnTo>
                      <a:pt x="0" y="346428"/>
                    </a:lnTo>
                    <a:lnTo>
                      <a:pt x="62706" y="346428"/>
                    </a:lnTo>
                    <a:lnTo>
                      <a:pt x="62706" y="200059"/>
                    </a:lnTo>
                    <a:lnTo>
                      <a:pt x="134672" y="200059"/>
                    </a:lnTo>
                    <a:lnTo>
                      <a:pt x="250988" y="346428"/>
                    </a:lnTo>
                    <a:lnTo>
                      <a:pt x="324903" y="346428"/>
                    </a:lnTo>
                    <a:lnTo>
                      <a:pt x="184301" y="166676"/>
                    </a:lnTo>
                    <a:lnTo>
                      <a:pt x="315725" y="0"/>
                    </a:lnTo>
                    <a:lnTo>
                      <a:pt x="248389" y="0"/>
                    </a:lnTo>
                    <a:lnTo>
                      <a:pt x="135972" y="146450"/>
                    </a:lnTo>
                    <a:lnTo>
                      <a:pt x="62706" y="146450"/>
                    </a:lnTo>
                    <a:lnTo>
                      <a:pt x="62706" y="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1" name="Полилиния: фигура 30">
                <a:extLst>
                  <a:ext uri="{FF2B5EF4-FFF2-40B4-BE49-F238E27FC236}">
                    <a16:creationId xmlns:a16="http://schemas.microsoft.com/office/drawing/2014/main" id="{7B1F8E4D-E152-40B5-9105-41FD94F2199B}"/>
                  </a:ext>
                </a:extLst>
              </p:cNvPr>
              <p:cNvSpPr/>
              <p:nvPr/>
            </p:nvSpPr>
            <p:spPr>
              <a:xfrm>
                <a:off x="3928894" y="3382782"/>
                <a:ext cx="360317" cy="353819"/>
              </a:xfrm>
              <a:custGeom>
                <a:avLst/>
                <a:gdLst>
                  <a:gd name="connsiteX0" fmla="*/ 273000 w 360317"/>
                  <a:gd name="connsiteY0" fmla="*/ 330914 h 353819"/>
                  <a:gd name="connsiteX1" fmla="*/ 337087 w 360317"/>
                  <a:gd name="connsiteY1" fmla="*/ 267802 h 353819"/>
                  <a:gd name="connsiteX2" fmla="*/ 360318 w 360317"/>
                  <a:gd name="connsiteY2" fmla="*/ 176585 h 353819"/>
                  <a:gd name="connsiteX3" fmla="*/ 337087 w 360317"/>
                  <a:gd name="connsiteY3" fmla="*/ 85368 h 353819"/>
                  <a:gd name="connsiteX4" fmla="*/ 273000 w 360317"/>
                  <a:gd name="connsiteY4" fmla="*/ 22581 h 353819"/>
                  <a:gd name="connsiteX5" fmla="*/ 180484 w 360317"/>
                  <a:gd name="connsiteY5" fmla="*/ 0 h 353819"/>
                  <a:gd name="connsiteX6" fmla="*/ 87643 w 360317"/>
                  <a:gd name="connsiteY6" fmla="*/ 22581 h 353819"/>
                  <a:gd name="connsiteX7" fmla="*/ 23230 w 360317"/>
                  <a:gd name="connsiteY7" fmla="*/ 85368 h 353819"/>
                  <a:gd name="connsiteX8" fmla="*/ 0 w 360317"/>
                  <a:gd name="connsiteY8" fmla="*/ 176585 h 353819"/>
                  <a:gd name="connsiteX9" fmla="*/ 23230 w 360317"/>
                  <a:gd name="connsiteY9" fmla="*/ 267802 h 353819"/>
                  <a:gd name="connsiteX10" fmla="*/ 87643 w 360317"/>
                  <a:gd name="connsiteY10" fmla="*/ 330914 h 353819"/>
                  <a:gd name="connsiteX11" fmla="*/ 180484 w 360317"/>
                  <a:gd name="connsiteY11" fmla="*/ 353820 h 353819"/>
                  <a:gd name="connsiteX12" fmla="*/ 273000 w 360317"/>
                  <a:gd name="connsiteY12" fmla="*/ 330914 h 353819"/>
                  <a:gd name="connsiteX13" fmla="*/ 78870 w 360317"/>
                  <a:gd name="connsiteY13" fmla="*/ 240347 h 353819"/>
                  <a:gd name="connsiteX14" fmla="*/ 63518 w 360317"/>
                  <a:gd name="connsiteY14" fmla="*/ 176585 h 353819"/>
                  <a:gd name="connsiteX15" fmla="*/ 78870 w 360317"/>
                  <a:gd name="connsiteY15" fmla="*/ 112823 h 353819"/>
                  <a:gd name="connsiteX16" fmla="*/ 120701 w 360317"/>
                  <a:gd name="connsiteY16" fmla="*/ 70017 h 353819"/>
                  <a:gd name="connsiteX17" fmla="*/ 180484 w 360317"/>
                  <a:gd name="connsiteY17" fmla="*/ 54990 h 353819"/>
                  <a:gd name="connsiteX18" fmla="*/ 240266 w 360317"/>
                  <a:gd name="connsiteY18" fmla="*/ 70017 h 353819"/>
                  <a:gd name="connsiteX19" fmla="*/ 281773 w 360317"/>
                  <a:gd name="connsiteY19" fmla="*/ 112823 h 353819"/>
                  <a:gd name="connsiteX20" fmla="*/ 296799 w 360317"/>
                  <a:gd name="connsiteY20" fmla="*/ 176585 h 353819"/>
                  <a:gd name="connsiteX21" fmla="*/ 281773 w 360317"/>
                  <a:gd name="connsiteY21" fmla="*/ 240347 h 353819"/>
                  <a:gd name="connsiteX22" fmla="*/ 240266 w 360317"/>
                  <a:gd name="connsiteY22" fmla="*/ 283478 h 353819"/>
                  <a:gd name="connsiteX23" fmla="*/ 180484 w 360317"/>
                  <a:gd name="connsiteY23" fmla="*/ 298830 h 353819"/>
                  <a:gd name="connsiteX24" fmla="*/ 120701 w 360317"/>
                  <a:gd name="connsiteY24" fmla="*/ 283478 h 353819"/>
                  <a:gd name="connsiteX25" fmla="*/ 78870 w 360317"/>
                  <a:gd name="connsiteY25" fmla="*/ 240347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273000" y="330914"/>
                    </a:moveTo>
                    <a:cubicBezTo>
                      <a:pt x="300210" y="315644"/>
                      <a:pt x="321573" y="294606"/>
                      <a:pt x="337087" y="267802"/>
                    </a:cubicBezTo>
                    <a:cubicBezTo>
                      <a:pt x="352601" y="240997"/>
                      <a:pt x="360318" y="210619"/>
                      <a:pt x="360318" y="176585"/>
                    </a:cubicBezTo>
                    <a:cubicBezTo>
                      <a:pt x="360318" y="142551"/>
                      <a:pt x="352601" y="112173"/>
                      <a:pt x="337087" y="85368"/>
                    </a:cubicBezTo>
                    <a:cubicBezTo>
                      <a:pt x="321654" y="58564"/>
                      <a:pt x="300292" y="37689"/>
                      <a:pt x="273000" y="22581"/>
                    </a:cubicBezTo>
                    <a:cubicBezTo>
                      <a:pt x="245790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8" y="37608"/>
                      <a:pt x="38745" y="58564"/>
                      <a:pt x="23230" y="85368"/>
                    </a:cubicBezTo>
                    <a:cubicBezTo>
                      <a:pt x="7798" y="112173"/>
                      <a:pt x="0" y="142551"/>
                      <a:pt x="0" y="176585"/>
                    </a:cubicBezTo>
                    <a:cubicBezTo>
                      <a:pt x="0" y="210619"/>
                      <a:pt x="7716" y="240997"/>
                      <a:pt x="23230" y="267802"/>
                    </a:cubicBezTo>
                    <a:cubicBezTo>
                      <a:pt x="38745" y="294606"/>
                      <a:pt x="60188" y="315644"/>
                      <a:pt x="87643" y="330914"/>
                    </a:cubicBez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lose/>
                    <a:moveTo>
                      <a:pt x="78870" y="240347"/>
                    </a:moveTo>
                    <a:cubicBezTo>
                      <a:pt x="68636" y="221828"/>
                      <a:pt x="63518" y="200547"/>
                      <a:pt x="63518" y="176585"/>
                    </a:cubicBezTo>
                    <a:cubicBezTo>
                      <a:pt x="63518" y="152623"/>
                      <a:pt x="68636" y="131342"/>
                      <a:pt x="78870" y="112823"/>
                    </a:cubicBezTo>
                    <a:cubicBezTo>
                      <a:pt x="89105" y="94303"/>
                      <a:pt x="103076" y="80008"/>
                      <a:pt x="120701" y="70017"/>
                    </a:cubicBezTo>
                    <a:cubicBezTo>
                      <a:pt x="138328" y="59945"/>
                      <a:pt x="158228" y="54990"/>
                      <a:pt x="180484" y="54990"/>
                    </a:cubicBezTo>
                    <a:cubicBezTo>
                      <a:pt x="202740" y="54990"/>
                      <a:pt x="222640" y="60026"/>
                      <a:pt x="240266" y="70017"/>
                    </a:cubicBezTo>
                    <a:cubicBezTo>
                      <a:pt x="257892" y="80008"/>
                      <a:pt x="271781" y="94303"/>
                      <a:pt x="281773" y="112823"/>
                    </a:cubicBezTo>
                    <a:cubicBezTo>
                      <a:pt x="291844" y="131342"/>
                      <a:pt x="296799" y="152623"/>
                      <a:pt x="296799" y="176585"/>
                    </a:cubicBezTo>
                    <a:cubicBezTo>
                      <a:pt x="296799" y="200547"/>
                      <a:pt x="291763" y="221828"/>
                      <a:pt x="281773" y="240347"/>
                    </a:cubicBezTo>
                    <a:cubicBezTo>
                      <a:pt x="271781" y="258867"/>
                      <a:pt x="257892" y="273244"/>
                      <a:pt x="240266" y="283478"/>
                    </a:cubicBezTo>
                    <a:cubicBezTo>
                      <a:pt x="222640" y="293713"/>
                      <a:pt x="202658" y="298830"/>
                      <a:pt x="180484" y="298830"/>
                    </a:cubicBezTo>
                    <a:cubicBezTo>
                      <a:pt x="158309" y="298830"/>
                      <a:pt x="138328" y="293713"/>
                      <a:pt x="120701" y="283478"/>
                    </a:cubicBezTo>
                    <a:cubicBezTo>
                      <a:pt x="103076" y="273244"/>
                      <a:pt x="89105" y="258867"/>
                      <a:pt x="78870" y="2403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2" name="Полилиния: фигура 31">
                <a:extLst>
                  <a:ext uri="{FF2B5EF4-FFF2-40B4-BE49-F238E27FC236}">
                    <a16:creationId xmlns:a16="http://schemas.microsoft.com/office/drawing/2014/main" id="{6ACCF885-764F-47F3-A653-69748A2673B4}"/>
                  </a:ext>
                </a:extLst>
              </p:cNvPr>
              <p:cNvSpPr/>
              <p:nvPr/>
            </p:nvSpPr>
            <p:spPr>
              <a:xfrm>
                <a:off x="4380022" y="3386193"/>
                <a:ext cx="322954" cy="346428"/>
              </a:xfrm>
              <a:custGeom>
                <a:avLst/>
                <a:gdLst>
                  <a:gd name="connsiteX0" fmla="*/ 62787 w 322954"/>
                  <a:gd name="connsiteY0" fmla="*/ 201359 h 346428"/>
                  <a:gd name="connsiteX1" fmla="*/ 260248 w 322954"/>
                  <a:gd name="connsiteY1" fmla="*/ 201359 h 346428"/>
                  <a:gd name="connsiteX2" fmla="*/ 260248 w 322954"/>
                  <a:gd name="connsiteY2" fmla="*/ 346428 h 346428"/>
                  <a:gd name="connsiteX3" fmla="*/ 322954 w 322954"/>
                  <a:gd name="connsiteY3" fmla="*/ 346428 h 346428"/>
                  <a:gd name="connsiteX4" fmla="*/ 322954 w 322954"/>
                  <a:gd name="connsiteY4" fmla="*/ 0 h 346428"/>
                  <a:gd name="connsiteX5" fmla="*/ 260248 w 322954"/>
                  <a:gd name="connsiteY5" fmla="*/ 0 h 346428"/>
                  <a:gd name="connsiteX6" fmla="*/ 260248 w 322954"/>
                  <a:gd name="connsiteY6" fmla="*/ 147100 h 346428"/>
                  <a:gd name="connsiteX7" fmla="*/ 62787 w 322954"/>
                  <a:gd name="connsiteY7" fmla="*/ 147100 h 346428"/>
                  <a:gd name="connsiteX8" fmla="*/ 62787 w 322954"/>
                  <a:gd name="connsiteY8" fmla="*/ 0 h 346428"/>
                  <a:gd name="connsiteX9" fmla="*/ 0 w 322954"/>
                  <a:gd name="connsiteY9" fmla="*/ 0 h 346428"/>
                  <a:gd name="connsiteX10" fmla="*/ 0 w 322954"/>
                  <a:gd name="connsiteY10" fmla="*/ 346428 h 346428"/>
                  <a:gd name="connsiteX11" fmla="*/ 62787 w 322954"/>
                  <a:gd name="connsiteY11" fmla="*/ 346428 h 346428"/>
                  <a:gd name="connsiteX12" fmla="*/ 62787 w 322954"/>
                  <a:gd name="connsiteY12" fmla="*/ 20135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2954" h="346428">
                    <a:moveTo>
                      <a:pt x="62787" y="201359"/>
                    </a:moveTo>
                    <a:lnTo>
                      <a:pt x="260248" y="201359"/>
                    </a:lnTo>
                    <a:lnTo>
                      <a:pt x="260248" y="346428"/>
                    </a:lnTo>
                    <a:lnTo>
                      <a:pt x="322954" y="346428"/>
                    </a:lnTo>
                    <a:lnTo>
                      <a:pt x="322954" y="0"/>
                    </a:lnTo>
                    <a:lnTo>
                      <a:pt x="260248" y="0"/>
                    </a:lnTo>
                    <a:lnTo>
                      <a:pt x="260248" y="147100"/>
                    </a:lnTo>
                    <a:lnTo>
                      <a:pt x="62787" y="147100"/>
                    </a:lnTo>
                    <a:lnTo>
                      <a:pt x="6278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62787" y="346428"/>
                    </a:lnTo>
                    <a:lnTo>
                      <a:pt x="62787" y="20135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3" name="Полилиния: фигура 32">
                <a:extLst>
                  <a:ext uri="{FF2B5EF4-FFF2-40B4-BE49-F238E27FC236}">
                    <a16:creationId xmlns:a16="http://schemas.microsoft.com/office/drawing/2014/main" id="{8451E831-9111-4D25-89E1-BA9C30CF58A3}"/>
                  </a:ext>
                </a:extLst>
              </p:cNvPr>
              <p:cNvSpPr/>
              <p:nvPr/>
            </p:nvSpPr>
            <p:spPr>
              <a:xfrm>
                <a:off x="4793137" y="3382782"/>
                <a:ext cx="360318" cy="353819"/>
              </a:xfrm>
              <a:custGeom>
                <a:avLst/>
                <a:gdLst>
                  <a:gd name="connsiteX0" fmla="*/ 87643 w 360318"/>
                  <a:gd name="connsiteY0" fmla="*/ 330914 h 353819"/>
                  <a:gd name="connsiteX1" fmla="*/ 180484 w 360318"/>
                  <a:gd name="connsiteY1" fmla="*/ 353820 h 353819"/>
                  <a:gd name="connsiteX2" fmla="*/ 273000 w 360318"/>
                  <a:gd name="connsiteY2" fmla="*/ 330914 h 353819"/>
                  <a:gd name="connsiteX3" fmla="*/ 337087 w 360318"/>
                  <a:gd name="connsiteY3" fmla="*/ 267802 h 353819"/>
                  <a:gd name="connsiteX4" fmla="*/ 360318 w 360318"/>
                  <a:gd name="connsiteY4" fmla="*/ 176585 h 353819"/>
                  <a:gd name="connsiteX5" fmla="*/ 337087 w 360318"/>
                  <a:gd name="connsiteY5" fmla="*/ 85368 h 353819"/>
                  <a:gd name="connsiteX6" fmla="*/ 273000 w 360318"/>
                  <a:gd name="connsiteY6" fmla="*/ 22581 h 353819"/>
                  <a:gd name="connsiteX7" fmla="*/ 180484 w 360318"/>
                  <a:gd name="connsiteY7" fmla="*/ 0 h 353819"/>
                  <a:gd name="connsiteX8" fmla="*/ 87643 w 360318"/>
                  <a:gd name="connsiteY8" fmla="*/ 22581 h 353819"/>
                  <a:gd name="connsiteX9" fmla="*/ 23231 w 360318"/>
                  <a:gd name="connsiteY9" fmla="*/ 85368 h 353819"/>
                  <a:gd name="connsiteX10" fmla="*/ 0 w 360318"/>
                  <a:gd name="connsiteY10" fmla="*/ 176585 h 353819"/>
                  <a:gd name="connsiteX11" fmla="*/ 23231 w 360318"/>
                  <a:gd name="connsiteY11" fmla="*/ 267802 h 353819"/>
                  <a:gd name="connsiteX12" fmla="*/ 87643 w 360318"/>
                  <a:gd name="connsiteY12" fmla="*/ 330914 h 353819"/>
                  <a:gd name="connsiteX13" fmla="*/ 78789 w 360318"/>
                  <a:gd name="connsiteY13" fmla="*/ 112904 h 353819"/>
                  <a:gd name="connsiteX14" fmla="*/ 120621 w 360318"/>
                  <a:gd name="connsiteY14" fmla="*/ 70098 h 353819"/>
                  <a:gd name="connsiteX15" fmla="*/ 180403 w 360318"/>
                  <a:gd name="connsiteY15" fmla="*/ 55071 h 353819"/>
                  <a:gd name="connsiteX16" fmla="*/ 240266 w 360318"/>
                  <a:gd name="connsiteY16" fmla="*/ 70098 h 353819"/>
                  <a:gd name="connsiteX17" fmla="*/ 281773 w 360318"/>
                  <a:gd name="connsiteY17" fmla="*/ 112904 h 353819"/>
                  <a:gd name="connsiteX18" fmla="*/ 296800 w 360318"/>
                  <a:gd name="connsiteY18" fmla="*/ 176666 h 353819"/>
                  <a:gd name="connsiteX19" fmla="*/ 281773 w 360318"/>
                  <a:gd name="connsiteY19" fmla="*/ 240429 h 353819"/>
                  <a:gd name="connsiteX20" fmla="*/ 240266 w 360318"/>
                  <a:gd name="connsiteY20" fmla="*/ 283560 h 353819"/>
                  <a:gd name="connsiteX21" fmla="*/ 180403 w 360318"/>
                  <a:gd name="connsiteY21" fmla="*/ 298911 h 353819"/>
                  <a:gd name="connsiteX22" fmla="*/ 120621 w 360318"/>
                  <a:gd name="connsiteY22" fmla="*/ 283560 h 353819"/>
                  <a:gd name="connsiteX23" fmla="*/ 78789 w 360318"/>
                  <a:gd name="connsiteY23" fmla="*/ 240429 h 353819"/>
                  <a:gd name="connsiteX24" fmla="*/ 63437 w 360318"/>
                  <a:gd name="connsiteY24" fmla="*/ 176666 h 353819"/>
                  <a:gd name="connsiteX25" fmla="*/ 78789 w 360318"/>
                  <a:gd name="connsiteY25" fmla="*/ 112904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8" h="353819">
                    <a:moveTo>
                      <a:pt x="87643" y="330914"/>
                    </a:move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ubicBezTo>
                      <a:pt x="300211" y="315644"/>
                      <a:pt x="321573" y="294606"/>
                      <a:pt x="337087" y="267802"/>
                    </a:cubicBezTo>
                    <a:cubicBezTo>
                      <a:pt x="352520" y="240997"/>
                      <a:pt x="360318" y="210619"/>
                      <a:pt x="360318" y="176585"/>
                    </a:cubicBezTo>
                    <a:cubicBezTo>
                      <a:pt x="360318" y="142551"/>
                      <a:pt x="352602" y="112173"/>
                      <a:pt x="337087" y="85368"/>
                    </a:cubicBezTo>
                    <a:cubicBezTo>
                      <a:pt x="321573" y="58564"/>
                      <a:pt x="300292" y="37689"/>
                      <a:pt x="273000" y="22581"/>
                    </a:cubicBezTo>
                    <a:cubicBezTo>
                      <a:pt x="245708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9" y="37608"/>
                      <a:pt x="38745" y="58564"/>
                      <a:pt x="23231" y="85368"/>
                    </a:cubicBezTo>
                    <a:cubicBezTo>
                      <a:pt x="7717" y="112173"/>
                      <a:pt x="0" y="142551"/>
                      <a:pt x="0" y="176585"/>
                    </a:cubicBezTo>
                    <a:cubicBezTo>
                      <a:pt x="0" y="210619"/>
                      <a:pt x="7717" y="240997"/>
                      <a:pt x="23231" y="267802"/>
                    </a:cubicBezTo>
                    <a:cubicBezTo>
                      <a:pt x="38664" y="294606"/>
                      <a:pt x="60189" y="315644"/>
                      <a:pt x="87643" y="330914"/>
                    </a:cubicBezTo>
                    <a:close/>
                    <a:moveTo>
                      <a:pt x="78789" y="112904"/>
                    </a:moveTo>
                    <a:cubicBezTo>
                      <a:pt x="89024" y="94384"/>
                      <a:pt x="102995" y="80089"/>
                      <a:pt x="120621" y="70098"/>
                    </a:cubicBezTo>
                    <a:cubicBezTo>
                      <a:pt x="138247" y="60026"/>
                      <a:pt x="158228" y="55071"/>
                      <a:pt x="180403" y="55071"/>
                    </a:cubicBezTo>
                    <a:cubicBezTo>
                      <a:pt x="202577" y="55071"/>
                      <a:pt x="222559" y="60107"/>
                      <a:pt x="240266" y="70098"/>
                    </a:cubicBezTo>
                    <a:cubicBezTo>
                      <a:pt x="257892" y="80089"/>
                      <a:pt x="271782" y="94384"/>
                      <a:pt x="281773" y="112904"/>
                    </a:cubicBezTo>
                    <a:cubicBezTo>
                      <a:pt x="291845" y="131424"/>
                      <a:pt x="296800" y="152705"/>
                      <a:pt x="296800" y="176666"/>
                    </a:cubicBezTo>
                    <a:cubicBezTo>
                      <a:pt x="296800" y="200628"/>
                      <a:pt x="291764" y="221909"/>
                      <a:pt x="281773" y="240429"/>
                    </a:cubicBezTo>
                    <a:cubicBezTo>
                      <a:pt x="271782" y="258948"/>
                      <a:pt x="257892" y="273325"/>
                      <a:pt x="240266" y="283560"/>
                    </a:cubicBezTo>
                    <a:cubicBezTo>
                      <a:pt x="222640" y="293794"/>
                      <a:pt x="202659" y="298911"/>
                      <a:pt x="180403" y="298911"/>
                    </a:cubicBezTo>
                    <a:cubicBezTo>
                      <a:pt x="158147" y="298911"/>
                      <a:pt x="138247" y="293794"/>
                      <a:pt x="120621" y="283560"/>
                    </a:cubicBezTo>
                    <a:cubicBezTo>
                      <a:pt x="102995" y="273325"/>
                      <a:pt x="89024" y="258948"/>
                      <a:pt x="78789" y="240429"/>
                    </a:cubicBezTo>
                    <a:cubicBezTo>
                      <a:pt x="68555" y="221909"/>
                      <a:pt x="63437" y="200628"/>
                      <a:pt x="63437" y="176666"/>
                    </a:cubicBezTo>
                    <a:cubicBezTo>
                      <a:pt x="63437" y="152705"/>
                      <a:pt x="68555" y="131424"/>
                      <a:pt x="78789" y="1129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4" name="Полилиния: фигура 33">
                <a:extLst>
                  <a:ext uri="{FF2B5EF4-FFF2-40B4-BE49-F238E27FC236}">
                    <a16:creationId xmlns:a16="http://schemas.microsoft.com/office/drawing/2014/main" id="{A1C151E7-57DC-4E39-A289-420BEEB7622F}"/>
                  </a:ext>
                </a:extLst>
              </p:cNvPr>
              <p:cNvSpPr/>
              <p:nvPr/>
            </p:nvSpPr>
            <p:spPr>
              <a:xfrm>
                <a:off x="5244265" y="3386193"/>
                <a:ext cx="399387" cy="346428"/>
              </a:xfrm>
              <a:custGeom>
                <a:avLst/>
                <a:gdLst>
                  <a:gd name="connsiteX0" fmla="*/ 200709 w 399387"/>
                  <a:gd name="connsiteY0" fmla="*/ 234012 h 346428"/>
                  <a:gd name="connsiteX1" fmla="*/ 64737 w 399387"/>
                  <a:gd name="connsiteY1" fmla="*/ 0 h 346428"/>
                  <a:gd name="connsiteX2" fmla="*/ 0 w 399387"/>
                  <a:gd name="connsiteY2" fmla="*/ 0 h 346428"/>
                  <a:gd name="connsiteX3" fmla="*/ 0 w 399387"/>
                  <a:gd name="connsiteY3" fmla="*/ 346428 h 346428"/>
                  <a:gd name="connsiteX4" fmla="*/ 57508 w 399387"/>
                  <a:gd name="connsiteY4" fmla="*/ 346428 h 346428"/>
                  <a:gd name="connsiteX5" fmla="*/ 57508 w 399387"/>
                  <a:gd name="connsiteY5" fmla="*/ 92841 h 346428"/>
                  <a:gd name="connsiteX6" fmla="*/ 185601 w 399387"/>
                  <a:gd name="connsiteY6" fmla="*/ 307277 h 346428"/>
                  <a:gd name="connsiteX7" fmla="*/ 213137 w 399387"/>
                  <a:gd name="connsiteY7" fmla="*/ 307277 h 346428"/>
                  <a:gd name="connsiteX8" fmla="*/ 342529 w 399387"/>
                  <a:gd name="connsiteY8" fmla="*/ 93491 h 346428"/>
                  <a:gd name="connsiteX9" fmla="*/ 342529 w 399387"/>
                  <a:gd name="connsiteY9" fmla="*/ 346428 h 346428"/>
                  <a:gd name="connsiteX10" fmla="*/ 399387 w 399387"/>
                  <a:gd name="connsiteY10" fmla="*/ 346428 h 346428"/>
                  <a:gd name="connsiteX11" fmla="*/ 399387 w 399387"/>
                  <a:gd name="connsiteY11" fmla="*/ 0 h 346428"/>
                  <a:gd name="connsiteX12" fmla="*/ 340580 w 399387"/>
                  <a:gd name="connsiteY12" fmla="*/ 0 h 346428"/>
                  <a:gd name="connsiteX13" fmla="*/ 200709 w 399387"/>
                  <a:gd name="connsiteY13" fmla="*/ 234012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9387" h="346428">
                    <a:moveTo>
                      <a:pt x="200709" y="234012"/>
                    </a:moveTo>
                    <a:lnTo>
                      <a:pt x="6473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57508" y="92841"/>
                    </a:lnTo>
                    <a:lnTo>
                      <a:pt x="185601" y="307277"/>
                    </a:lnTo>
                    <a:lnTo>
                      <a:pt x="213137" y="307277"/>
                    </a:lnTo>
                    <a:lnTo>
                      <a:pt x="342529" y="93491"/>
                    </a:lnTo>
                    <a:lnTo>
                      <a:pt x="342529" y="346428"/>
                    </a:lnTo>
                    <a:lnTo>
                      <a:pt x="399387" y="346428"/>
                    </a:lnTo>
                    <a:lnTo>
                      <a:pt x="399387" y="0"/>
                    </a:lnTo>
                    <a:lnTo>
                      <a:pt x="340580" y="0"/>
                    </a:lnTo>
                    <a:lnTo>
                      <a:pt x="200709" y="234012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5" name="Полилиния: фигура 34">
                <a:extLst>
                  <a:ext uri="{FF2B5EF4-FFF2-40B4-BE49-F238E27FC236}">
                    <a16:creationId xmlns:a16="http://schemas.microsoft.com/office/drawing/2014/main" id="{F63422F0-E686-4DDE-AE61-E4B476D7D45C}"/>
                  </a:ext>
                </a:extLst>
              </p:cNvPr>
              <p:cNvSpPr/>
              <p:nvPr/>
            </p:nvSpPr>
            <p:spPr>
              <a:xfrm>
                <a:off x="5765898" y="3386193"/>
                <a:ext cx="332132" cy="346428"/>
              </a:xfrm>
              <a:custGeom>
                <a:avLst/>
                <a:gdLst>
                  <a:gd name="connsiteX0" fmla="*/ 62788 w 332132"/>
                  <a:gd name="connsiteY0" fmla="*/ 252369 h 346428"/>
                  <a:gd name="connsiteX1" fmla="*/ 62788 w 332132"/>
                  <a:gd name="connsiteY1" fmla="*/ 0 h 346428"/>
                  <a:gd name="connsiteX2" fmla="*/ 0 w 332132"/>
                  <a:gd name="connsiteY2" fmla="*/ 0 h 346428"/>
                  <a:gd name="connsiteX3" fmla="*/ 0 w 332132"/>
                  <a:gd name="connsiteY3" fmla="*/ 346428 h 346428"/>
                  <a:gd name="connsiteX4" fmla="*/ 57589 w 332132"/>
                  <a:gd name="connsiteY4" fmla="*/ 346428 h 346428"/>
                  <a:gd name="connsiteX5" fmla="*/ 269345 w 332132"/>
                  <a:gd name="connsiteY5" fmla="*/ 94141 h 346428"/>
                  <a:gd name="connsiteX6" fmla="*/ 269345 w 332132"/>
                  <a:gd name="connsiteY6" fmla="*/ 346428 h 346428"/>
                  <a:gd name="connsiteX7" fmla="*/ 332133 w 332132"/>
                  <a:gd name="connsiteY7" fmla="*/ 346428 h 346428"/>
                  <a:gd name="connsiteX8" fmla="*/ 332133 w 332132"/>
                  <a:gd name="connsiteY8" fmla="*/ 0 h 346428"/>
                  <a:gd name="connsiteX9" fmla="*/ 275275 w 332132"/>
                  <a:gd name="connsiteY9" fmla="*/ 0 h 346428"/>
                  <a:gd name="connsiteX10" fmla="*/ 62788 w 332132"/>
                  <a:gd name="connsiteY10" fmla="*/ 25236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2" h="346428">
                    <a:moveTo>
                      <a:pt x="62788" y="252369"/>
                    </a:moveTo>
                    <a:lnTo>
                      <a:pt x="62788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89" y="346428"/>
                    </a:lnTo>
                    <a:lnTo>
                      <a:pt x="269345" y="94141"/>
                    </a:lnTo>
                    <a:lnTo>
                      <a:pt x="269345" y="346428"/>
                    </a:lnTo>
                    <a:lnTo>
                      <a:pt x="332133" y="346428"/>
                    </a:lnTo>
                    <a:lnTo>
                      <a:pt x="332133" y="0"/>
                    </a:lnTo>
                    <a:lnTo>
                      <a:pt x="275275" y="0"/>
                    </a:lnTo>
                    <a:lnTo>
                      <a:pt x="62788" y="25236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6" name="Полилиния: фигура 35">
                <a:extLst>
                  <a:ext uri="{FF2B5EF4-FFF2-40B4-BE49-F238E27FC236}">
                    <a16:creationId xmlns:a16="http://schemas.microsoft.com/office/drawing/2014/main" id="{51B781C4-F875-43EB-A8F1-9D9B3906E28D}"/>
                  </a:ext>
                </a:extLst>
              </p:cNvPr>
              <p:cNvSpPr/>
              <p:nvPr/>
            </p:nvSpPr>
            <p:spPr>
              <a:xfrm>
                <a:off x="6186079" y="3386112"/>
                <a:ext cx="310038" cy="346509"/>
              </a:xfrm>
              <a:custGeom>
                <a:avLst/>
                <a:gdLst>
                  <a:gd name="connsiteX0" fmla="*/ 310039 w 310038"/>
                  <a:gd name="connsiteY0" fmla="*/ 346510 h 346509"/>
                  <a:gd name="connsiteX1" fmla="*/ 310039 w 310038"/>
                  <a:gd name="connsiteY1" fmla="*/ 81 h 346509"/>
                  <a:gd name="connsiteX2" fmla="*/ 247252 w 310038"/>
                  <a:gd name="connsiteY2" fmla="*/ 81 h 346509"/>
                  <a:gd name="connsiteX3" fmla="*/ 247252 w 310038"/>
                  <a:gd name="connsiteY3" fmla="*/ 158228 h 346509"/>
                  <a:gd name="connsiteX4" fmla="*/ 148481 w 310038"/>
                  <a:gd name="connsiteY4" fmla="*/ 181134 h 346509"/>
                  <a:gd name="connsiteX5" fmla="*/ 85368 w 310038"/>
                  <a:gd name="connsiteY5" fmla="*/ 162777 h 346509"/>
                  <a:gd name="connsiteX6" fmla="*/ 62787 w 310038"/>
                  <a:gd name="connsiteY6" fmla="*/ 108518 h 346509"/>
                  <a:gd name="connsiteX7" fmla="*/ 62787 w 310038"/>
                  <a:gd name="connsiteY7" fmla="*/ 0 h 346509"/>
                  <a:gd name="connsiteX8" fmla="*/ 0 w 310038"/>
                  <a:gd name="connsiteY8" fmla="*/ 0 h 346509"/>
                  <a:gd name="connsiteX9" fmla="*/ 0 w 310038"/>
                  <a:gd name="connsiteY9" fmla="*/ 112417 h 346509"/>
                  <a:gd name="connsiteX10" fmla="*/ 35333 w 310038"/>
                  <a:gd name="connsiteY10" fmla="*/ 202577 h 346509"/>
                  <a:gd name="connsiteX11" fmla="*/ 135403 w 310038"/>
                  <a:gd name="connsiteY11" fmla="*/ 232631 h 346509"/>
                  <a:gd name="connsiteX12" fmla="*/ 247170 w 310038"/>
                  <a:gd name="connsiteY12" fmla="*/ 206476 h 346509"/>
                  <a:gd name="connsiteX13" fmla="*/ 247170 w 310038"/>
                  <a:gd name="connsiteY13" fmla="*/ 346347 h 346509"/>
                  <a:gd name="connsiteX14" fmla="*/ 309958 w 310038"/>
                  <a:gd name="connsiteY14" fmla="*/ 346347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10038" h="346509">
                    <a:moveTo>
                      <a:pt x="310039" y="346510"/>
                    </a:moveTo>
                    <a:lnTo>
                      <a:pt x="310039" y="81"/>
                    </a:lnTo>
                    <a:lnTo>
                      <a:pt x="247252" y="81"/>
                    </a:lnTo>
                    <a:lnTo>
                      <a:pt x="247252" y="158228"/>
                    </a:lnTo>
                    <a:cubicBezTo>
                      <a:pt x="211918" y="173498"/>
                      <a:pt x="179022" y="181134"/>
                      <a:pt x="148481" y="181134"/>
                    </a:cubicBezTo>
                    <a:cubicBezTo>
                      <a:pt x="121432" y="181134"/>
                      <a:pt x="100476" y="175042"/>
                      <a:pt x="85368" y="162777"/>
                    </a:cubicBezTo>
                    <a:cubicBezTo>
                      <a:pt x="70341" y="150593"/>
                      <a:pt x="62787" y="132479"/>
                      <a:pt x="62787" y="108518"/>
                    </a:cubicBezTo>
                    <a:lnTo>
                      <a:pt x="62787" y="0"/>
                    </a:lnTo>
                    <a:lnTo>
                      <a:pt x="0" y="0"/>
                    </a:lnTo>
                    <a:lnTo>
                      <a:pt x="0" y="112417"/>
                    </a:lnTo>
                    <a:cubicBezTo>
                      <a:pt x="0" y="152542"/>
                      <a:pt x="11777" y="182596"/>
                      <a:pt x="35333" y="202577"/>
                    </a:cubicBezTo>
                    <a:cubicBezTo>
                      <a:pt x="58889" y="222640"/>
                      <a:pt x="92191" y="232631"/>
                      <a:pt x="135403" y="232631"/>
                    </a:cubicBezTo>
                    <a:cubicBezTo>
                      <a:pt x="172442" y="232631"/>
                      <a:pt x="209725" y="223940"/>
                      <a:pt x="247170" y="206476"/>
                    </a:cubicBezTo>
                    <a:lnTo>
                      <a:pt x="247170" y="346347"/>
                    </a:lnTo>
                    <a:lnTo>
                      <a:pt x="309958" y="346347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7" name="Полилиния: фигура 36">
                <a:extLst>
                  <a:ext uri="{FF2B5EF4-FFF2-40B4-BE49-F238E27FC236}">
                    <a16:creationId xmlns:a16="http://schemas.microsoft.com/office/drawing/2014/main" id="{22A751D5-CC1D-4E9A-83D9-4E67FF741B04}"/>
                  </a:ext>
                </a:extLst>
              </p:cNvPr>
              <p:cNvSpPr/>
              <p:nvPr/>
            </p:nvSpPr>
            <p:spPr>
              <a:xfrm>
                <a:off x="6585791" y="3382944"/>
                <a:ext cx="345128" cy="353819"/>
              </a:xfrm>
              <a:custGeom>
                <a:avLst/>
                <a:gdLst>
                  <a:gd name="connsiteX0" fmla="*/ 288190 w 345128"/>
                  <a:gd name="connsiteY0" fmla="*/ 256917 h 353819"/>
                  <a:gd name="connsiteX1" fmla="*/ 188200 w 345128"/>
                  <a:gd name="connsiteY1" fmla="*/ 298749 h 353819"/>
                  <a:gd name="connsiteX2" fmla="*/ 102913 w 345128"/>
                  <a:gd name="connsiteY2" fmla="*/ 270969 h 353819"/>
                  <a:gd name="connsiteX3" fmla="*/ 62707 w 345128"/>
                  <a:gd name="connsiteY3" fmla="*/ 197460 h 353819"/>
                  <a:gd name="connsiteX4" fmla="*/ 343829 w 345128"/>
                  <a:gd name="connsiteY4" fmla="*/ 197460 h 353819"/>
                  <a:gd name="connsiteX5" fmla="*/ 345129 w 345128"/>
                  <a:gd name="connsiteY5" fmla="*/ 178534 h 353819"/>
                  <a:gd name="connsiteX6" fmla="*/ 323279 w 345128"/>
                  <a:gd name="connsiteY6" fmla="*/ 85693 h 353819"/>
                  <a:gd name="connsiteX7" fmla="*/ 262522 w 345128"/>
                  <a:gd name="connsiteY7" fmla="*/ 22581 h 353819"/>
                  <a:gd name="connsiteX8" fmla="*/ 173905 w 345128"/>
                  <a:gd name="connsiteY8" fmla="*/ 0 h 353819"/>
                  <a:gd name="connsiteX9" fmla="*/ 84719 w 345128"/>
                  <a:gd name="connsiteY9" fmla="*/ 22581 h 353819"/>
                  <a:gd name="connsiteX10" fmla="*/ 22581 w 345128"/>
                  <a:gd name="connsiteY10" fmla="*/ 85693 h 353819"/>
                  <a:gd name="connsiteX11" fmla="*/ 0 w 345128"/>
                  <a:gd name="connsiteY11" fmla="*/ 176585 h 353819"/>
                  <a:gd name="connsiteX12" fmla="*/ 23230 w 345128"/>
                  <a:gd name="connsiteY12" fmla="*/ 268127 h 353819"/>
                  <a:gd name="connsiteX13" fmla="*/ 88942 w 345128"/>
                  <a:gd name="connsiteY13" fmla="*/ 331239 h 353819"/>
                  <a:gd name="connsiteX14" fmla="*/ 186332 w 345128"/>
                  <a:gd name="connsiteY14" fmla="*/ 353820 h 353819"/>
                  <a:gd name="connsiteX15" fmla="*/ 264390 w 345128"/>
                  <a:gd name="connsiteY15" fmla="*/ 339443 h 353819"/>
                  <a:gd name="connsiteX16" fmla="*/ 322954 w 345128"/>
                  <a:gd name="connsiteY16" fmla="*/ 297612 h 353819"/>
                  <a:gd name="connsiteX17" fmla="*/ 288270 w 345128"/>
                  <a:gd name="connsiteY17" fmla="*/ 257080 h 353819"/>
                  <a:gd name="connsiteX18" fmla="*/ 98284 w 345128"/>
                  <a:gd name="connsiteY18" fmla="*/ 80414 h 353819"/>
                  <a:gd name="connsiteX19" fmla="*/ 173824 w 345128"/>
                  <a:gd name="connsiteY19" fmla="*/ 52959 h 353819"/>
                  <a:gd name="connsiteX20" fmla="*/ 249363 w 345128"/>
                  <a:gd name="connsiteY20" fmla="*/ 80739 h 353819"/>
                  <a:gd name="connsiteX21" fmla="*/ 285022 w 345128"/>
                  <a:gd name="connsiteY21" fmla="*/ 152298 h 353819"/>
                  <a:gd name="connsiteX22" fmla="*/ 62788 w 345128"/>
                  <a:gd name="connsiteY22" fmla="*/ 152298 h 353819"/>
                  <a:gd name="connsiteX23" fmla="*/ 98446 w 345128"/>
                  <a:gd name="connsiteY23" fmla="*/ 80414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5128" h="353819">
                    <a:moveTo>
                      <a:pt x="288190" y="256917"/>
                    </a:moveTo>
                    <a:cubicBezTo>
                      <a:pt x="262928" y="284778"/>
                      <a:pt x="229544" y="298749"/>
                      <a:pt x="188200" y="298749"/>
                    </a:cubicBezTo>
                    <a:cubicBezTo>
                      <a:pt x="154248" y="298749"/>
                      <a:pt x="125738" y="289489"/>
                      <a:pt x="102913" y="270969"/>
                    </a:cubicBezTo>
                    <a:cubicBezTo>
                      <a:pt x="80008" y="252450"/>
                      <a:pt x="66605" y="227920"/>
                      <a:pt x="62707" y="197460"/>
                    </a:cubicBezTo>
                    <a:lnTo>
                      <a:pt x="343829" y="197460"/>
                    </a:lnTo>
                    <a:cubicBezTo>
                      <a:pt x="344723" y="189662"/>
                      <a:pt x="345129" y="183327"/>
                      <a:pt x="345129" y="178534"/>
                    </a:cubicBezTo>
                    <a:cubicBezTo>
                      <a:pt x="345129" y="143689"/>
                      <a:pt x="337819" y="112742"/>
                      <a:pt x="323279" y="85693"/>
                    </a:cubicBezTo>
                    <a:cubicBezTo>
                      <a:pt x="308658" y="58645"/>
                      <a:pt x="288433" y="37689"/>
                      <a:pt x="262522" y="22581"/>
                    </a:cubicBezTo>
                    <a:cubicBezTo>
                      <a:pt x="236611" y="7554"/>
                      <a:pt x="207045" y="0"/>
                      <a:pt x="173905" y="0"/>
                    </a:cubicBezTo>
                    <a:cubicBezTo>
                      <a:pt x="140765" y="0"/>
                      <a:pt x="111036" y="7554"/>
                      <a:pt x="84719" y="22581"/>
                    </a:cubicBezTo>
                    <a:cubicBezTo>
                      <a:pt x="58320" y="37608"/>
                      <a:pt x="37608" y="58645"/>
                      <a:pt x="22581" y="85693"/>
                    </a:cubicBezTo>
                    <a:cubicBezTo>
                      <a:pt x="7554" y="112742"/>
                      <a:pt x="0" y="143039"/>
                      <a:pt x="0" y="176585"/>
                    </a:cubicBezTo>
                    <a:cubicBezTo>
                      <a:pt x="0" y="210131"/>
                      <a:pt x="7717" y="241078"/>
                      <a:pt x="23230" y="268127"/>
                    </a:cubicBezTo>
                    <a:cubicBezTo>
                      <a:pt x="38745" y="295175"/>
                      <a:pt x="60595" y="316212"/>
                      <a:pt x="88942" y="331239"/>
                    </a:cubicBezTo>
                    <a:cubicBezTo>
                      <a:pt x="117290" y="346266"/>
                      <a:pt x="149780" y="353820"/>
                      <a:pt x="186332" y="353820"/>
                    </a:cubicBezTo>
                    <a:cubicBezTo>
                      <a:pt x="215086" y="353820"/>
                      <a:pt x="241160" y="349028"/>
                      <a:pt x="264390" y="339443"/>
                    </a:cubicBezTo>
                    <a:cubicBezTo>
                      <a:pt x="287702" y="329858"/>
                      <a:pt x="307196" y="315887"/>
                      <a:pt x="322954" y="297612"/>
                    </a:cubicBezTo>
                    <a:lnTo>
                      <a:pt x="288270" y="257080"/>
                    </a:lnTo>
                    <a:close/>
                    <a:moveTo>
                      <a:pt x="98284" y="80414"/>
                    </a:moveTo>
                    <a:cubicBezTo>
                      <a:pt x="118590" y="62057"/>
                      <a:pt x="143689" y="52959"/>
                      <a:pt x="173824" y="52959"/>
                    </a:cubicBezTo>
                    <a:cubicBezTo>
                      <a:pt x="203958" y="52959"/>
                      <a:pt x="229057" y="62219"/>
                      <a:pt x="249363" y="80739"/>
                    </a:cubicBezTo>
                    <a:cubicBezTo>
                      <a:pt x="269589" y="99258"/>
                      <a:pt x="281529" y="123138"/>
                      <a:pt x="285022" y="152298"/>
                    </a:cubicBezTo>
                    <a:lnTo>
                      <a:pt x="62788" y="152298"/>
                    </a:lnTo>
                    <a:cubicBezTo>
                      <a:pt x="66281" y="122651"/>
                      <a:pt x="78139" y="98689"/>
                      <a:pt x="98446" y="804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8" name="Полилиния: фигура 37">
                <a:extLst>
                  <a:ext uri="{FF2B5EF4-FFF2-40B4-BE49-F238E27FC236}">
                    <a16:creationId xmlns:a16="http://schemas.microsoft.com/office/drawing/2014/main" id="{6D783737-0E20-42E6-A382-576228BB371C}"/>
                  </a:ext>
                </a:extLst>
              </p:cNvPr>
              <p:cNvSpPr/>
              <p:nvPr/>
            </p:nvSpPr>
            <p:spPr>
              <a:xfrm>
                <a:off x="6996226" y="3383026"/>
                <a:ext cx="324253" cy="353819"/>
              </a:xfrm>
              <a:custGeom>
                <a:avLst/>
                <a:gdLst>
                  <a:gd name="connsiteX0" fmla="*/ 121270 w 324253"/>
                  <a:gd name="connsiteY0" fmla="*/ 69854 h 353819"/>
                  <a:gd name="connsiteX1" fmla="*/ 182352 w 324253"/>
                  <a:gd name="connsiteY1" fmla="*/ 54827 h 353819"/>
                  <a:gd name="connsiteX2" fmla="*/ 235961 w 324253"/>
                  <a:gd name="connsiteY2" fmla="*/ 67255 h 353819"/>
                  <a:gd name="connsiteX3" fmla="*/ 276493 w 324253"/>
                  <a:gd name="connsiteY3" fmla="*/ 104538 h 353819"/>
                  <a:gd name="connsiteX4" fmla="*/ 324253 w 324253"/>
                  <a:gd name="connsiteY4" fmla="*/ 73834 h 353819"/>
                  <a:gd name="connsiteX5" fmla="*/ 267071 w 324253"/>
                  <a:gd name="connsiteY5" fmla="*/ 18926 h 353819"/>
                  <a:gd name="connsiteX6" fmla="*/ 183083 w 324253"/>
                  <a:gd name="connsiteY6" fmla="*/ 0 h 353819"/>
                  <a:gd name="connsiteX7" fmla="*/ 88617 w 324253"/>
                  <a:gd name="connsiteY7" fmla="*/ 22581 h 353819"/>
                  <a:gd name="connsiteX8" fmla="*/ 23555 w 324253"/>
                  <a:gd name="connsiteY8" fmla="*/ 85368 h 353819"/>
                  <a:gd name="connsiteX9" fmla="*/ 0 w 324253"/>
                  <a:gd name="connsiteY9" fmla="*/ 176585 h 353819"/>
                  <a:gd name="connsiteX10" fmla="*/ 23555 w 324253"/>
                  <a:gd name="connsiteY10" fmla="*/ 267802 h 353819"/>
                  <a:gd name="connsiteX11" fmla="*/ 88617 w 324253"/>
                  <a:gd name="connsiteY11" fmla="*/ 330914 h 353819"/>
                  <a:gd name="connsiteX12" fmla="*/ 183083 w 324253"/>
                  <a:gd name="connsiteY12" fmla="*/ 353820 h 353819"/>
                  <a:gd name="connsiteX13" fmla="*/ 267071 w 324253"/>
                  <a:gd name="connsiteY13" fmla="*/ 334488 h 353819"/>
                  <a:gd name="connsiteX14" fmla="*/ 324253 w 324253"/>
                  <a:gd name="connsiteY14" fmla="*/ 279255 h 353819"/>
                  <a:gd name="connsiteX15" fmla="*/ 276493 w 324253"/>
                  <a:gd name="connsiteY15" fmla="*/ 249201 h 353819"/>
                  <a:gd name="connsiteX16" fmla="*/ 235961 w 324253"/>
                  <a:gd name="connsiteY16" fmla="*/ 286484 h 353819"/>
                  <a:gd name="connsiteX17" fmla="*/ 182352 w 324253"/>
                  <a:gd name="connsiteY17" fmla="*/ 298911 h 353819"/>
                  <a:gd name="connsiteX18" fmla="*/ 121270 w 324253"/>
                  <a:gd name="connsiteY18" fmla="*/ 283884 h 353819"/>
                  <a:gd name="connsiteX19" fmla="*/ 78789 w 324253"/>
                  <a:gd name="connsiteY19" fmla="*/ 241078 h 353819"/>
                  <a:gd name="connsiteX20" fmla="*/ 63437 w 324253"/>
                  <a:gd name="connsiteY20" fmla="*/ 176666 h 353819"/>
                  <a:gd name="connsiteX21" fmla="*/ 78789 w 324253"/>
                  <a:gd name="connsiteY21" fmla="*/ 112904 h 353819"/>
                  <a:gd name="connsiteX22" fmla="*/ 121270 w 324253"/>
                  <a:gd name="connsiteY22" fmla="*/ 70098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819">
                    <a:moveTo>
                      <a:pt x="121270" y="69854"/>
                    </a:moveTo>
                    <a:cubicBezTo>
                      <a:pt x="139302" y="59782"/>
                      <a:pt x="159690" y="54827"/>
                      <a:pt x="182352" y="54827"/>
                    </a:cubicBezTo>
                    <a:cubicBezTo>
                      <a:pt x="201927" y="54827"/>
                      <a:pt x="219797" y="58970"/>
                      <a:pt x="235961" y="67255"/>
                    </a:cubicBezTo>
                    <a:cubicBezTo>
                      <a:pt x="252125" y="75540"/>
                      <a:pt x="265609" y="87968"/>
                      <a:pt x="276493" y="104538"/>
                    </a:cubicBezTo>
                    <a:lnTo>
                      <a:pt x="324253" y="73834"/>
                    </a:lnTo>
                    <a:cubicBezTo>
                      <a:pt x="310770" y="49873"/>
                      <a:pt x="291682" y="31516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5" y="7554"/>
                      <a:pt x="88617" y="22581"/>
                    </a:cubicBezTo>
                    <a:cubicBezTo>
                      <a:pt x="60919" y="37608"/>
                      <a:pt x="39313" y="58564"/>
                      <a:pt x="23555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5" y="267802"/>
                    </a:cubicBezTo>
                    <a:cubicBezTo>
                      <a:pt x="39232" y="294606"/>
                      <a:pt x="60919" y="315644"/>
                      <a:pt x="88617" y="330914"/>
                    </a:cubicBezTo>
                    <a:cubicBezTo>
                      <a:pt x="116315" y="346185"/>
                      <a:pt x="147831" y="353820"/>
                      <a:pt x="183083" y="353820"/>
                    </a:cubicBezTo>
                    <a:cubicBezTo>
                      <a:pt x="214436" y="353820"/>
                      <a:pt x="242459" y="347403"/>
                      <a:pt x="267071" y="334488"/>
                    </a:cubicBezTo>
                    <a:cubicBezTo>
                      <a:pt x="291682" y="321654"/>
                      <a:pt x="310770" y="303216"/>
                      <a:pt x="324253" y="279255"/>
                    </a:cubicBezTo>
                    <a:lnTo>
                      <a:pt x="276493" y="249201"/>
                    </a:lnTo>
                    <a:cubicBezTo>
                      <a:pt x="265609" y="265771"/>
                      <a:pt x="252125" y="278199"/>
                      <a:pt x="235961" y="286484"/>
                    </a:cubicBezTo>
                    <a:cubicBezTo>
                      <a:pt x="219878" y="294769"/>
                      <a:pt x="202009" y="298911"/>
                      <a:pt x="182352" y="298911"/>
                    </a:cubicBezTo>
                    <a:cubicBezTo>
                      <a:pt x="159690" y="298911"/>
                      <a:pt x="139302" y="293956"/>
                      <a:pt x="121270" y="283884"/>
                    </a:cubicBezTo>
                    <a:cubicBezTo>
                      <a:pt x="103157" y="273894"/>
                      <a:pt x="89023" y="259598"/>
                      <a:pt x="78789" y="241078"/>
                    </a:cubicBezTo>
                    <a:cubicBezTo>
                      <a:pt x="68555" y="222559"/>
                      <a:pt x="63437" y="201115"/>
                      <a:pt x="63437" y="176666"/>
                    </a:cubicBezTo>
                    <a:cubicBezTo>
                      <a:pt x="63437" y="152217"/>
                      <a:pt x="68555" y="131424"/>
                      <a:pt x="78789" y="112904"/>
                    </a:cubicBezTo>
                    <a:cubicBezTo>
                      <a:pt x="89023" y="94385"/>
                      <a:pt x="103157" y="80089"/>
                      <a:pt x="121270" y="700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39" name="Полилиния: фигура 38">
                <a:extLst>
                  <a:ext uri="{FF2B5EF4-FFF2-40B4-BE49-F238E27FC236}">
                    <a16:creationId xmlns:a16="http://schemas.microsoft.com/office/drawing/2014/main" id="{F27F3640-2C18-4144-BAFE-218A73AFF33C}"/>
                  </a:ext>
                </a:extLst>
              </p:cNvPr>
              <p:cNvSpPr/>
              <p:nvPr/>
            </p:nvSpPr>
            <p:spPr>
              <a:xfrm>
                <a:off x="7401542" y="3386193"/>
                <a:ext cx="324822" cy="346428"/>
              </a:xfrm>
              <a:custGeom>
                <a:avLst/>
                <a:gdLst>
                  <a:gd name="connsiteX0" fmla="*/ 250988 w 324822"/>
                  <a:gd name="connsiteY0" fmla="*/ 346428 h 346428"/>
                  <a:gd name="connsiteX1" fmla="*/ 324822 w 324822"/>
                  <a:gd name="connsiteY1" fmla="*/ 346428 h 346428"/>
                  <a:gd name="connsiteX2" fmla="*/ 184301 w 324822"/>
                  <a:gd name="connsiteY2" fmla="*/ 166676 h 346428"/>
                  <a:gd name="connsiteX3" fmla="*/ 315725 w 324822"/>
                  <a:gd name="connsiteY3" fmla="*/ 0 h 346428"/>
                  <a:gd name="connsiteX4" fmla="*/ 248389 w 324822"/>
                  <a:gd name="connsiteY4" fmla="*/ 0 h 346428"/>
                  <a:gd name="connsiteX5" fmla="*/ 135972 w 324822"/>
                  <a:gd name="connsiteY5" fmla="*/ 146450 h 346428"/>
                  <a:gd name="connsiteX6" fmla="*/ 62707 w 324822"/>
                  <a:gd name="connsiteY6" fmla="*/ 146450 h 346428"/>
                  <a:gd name="connsiteX7" fmla="*/ 62707 w 324822"/>
                  <a:gd name="connsiteY7" fmla="*/ 0 h 346428"/>
                  <a:gd name="connsiteX8" fmla="*/ 0 w 324822"/>
                  <a:gd name="connsiteY8" fmla="*/ 0 h 346428"/>
                  <a:gd name="connsiteX9" fmla="*/ 0 w 324822"/>
                  <a:gd name="connsiteY9" fmla="*/ 346428 h 346428"/>
                  <a:gd name="connsiteX10" fmla="*/ 62707 w 324822"/>
                  <a:gd name="connsiteY10" fmla="*/ 346428 h 346428"/>
                  <a:gd name="connsiteX11" fmla="*/ 62707 w 324822"/>
                  <a:gd name="connsiteY11" fmla="*/ 200059 h 346428"/>
                  <a:gd name="connsiteX12" fmla="*/ 134591 w 324822"/>
                  <a:gd name="connsiteY12" fmla="*/ 200059 h 346428"/>
                  <a:gd name="connsiteX13" fmla="*/ 250988 w 324822"/>
                  <a:gd name="connsiteY13" fmla="*/ 34642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4822" h="346428">
                    <a:moveTo>
                      <a:pt x="250988" y="346428"/>
                    </a:moveTo>
                    <a:lnTo>
                      <a:pt x="324822" y="346428"/>
                    </a:lnTo>
                    <a:lnTo>
                      <a:pt x="184301" y="166676"/>
                    </a:lnTo>
                    <a:lnTo>
                      <a:pt x="315725" y="0"/>
                    </a:lnTo>
                    <a:lnTo>
                      <a:pt x="248389" y="0"/>
                    </a:lnTo>
                    <a:lnTo>
                      <a:pt x="135972" y="146450"/>
                    </a:lnTo>
                    <a:lnTo>
                      <a:pt x="62707" y="146450"/>
                    </a:lnTo>
                    <a:lnTo>
                      <a:pt x="6270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62707" y="346428"/>
                    </a:lnTo>
                    <a:lnTo>
                      <a:pt x="62707" y="200059"/>
                    </a:lnTo>
                    <a:lnTo>
                      <a:pt x="134591" y="200059"/>
                    </a:lnTo>
                    <a:lnTo>
                      <a:pt x="250988" y="34642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0" name="Полилиния: фигура 39">
                <a:extLst>
                  <a:ext uri="{FF2B5EF4-FFF2-40B4-BE49-F238E27FC236}">
                    <a16:creationId xmlns:a16="http://schemas.microsoft.com/office/drawing/2014/main" id="{E85E5EC0-6438-45E0-98B2-6EBA095F7D16}"/>
                  </a:ext>
                </a:extLst>
              </p:cNvPr>
              <p:cNvSpPr/>
              <p:nvPr/>
            </p:nvSpPr>
            <p:spPr>
              <a:xfrm>
                <a:off x="7748540" y="3382863"/>
                <a:ext cx="360317" cy="353819"/>
              </a:xfrm>
              <a:custGeom>
                <a:avLst/>
                <a:gdLst>
                  <a:gd name="connsiteX0" fmla="*/ 337087 w 360317"/>
                  <a:gd name="connsiteY0" fmla="*/ 85368 h 353819"/>
                  <a:gd name="connsiteX1" fmla="*/ 273000 w 360317"/>
                  <a:gd name="connsiteY1" fmla="*/ 22581 h 353819"/>
                  <a:gd name="connsiteX2" fmla="*/ 180484 w 360317"/>
                  <a:gd name="connsiteY2" fmla="*/ 0 h 353819"/>
                  <a:gd name="connsiteX3" fmla="*/ 87643 w 360317"/>
                  <a:gd name="connsiteY3" fmla="*/ 22581 h 353819"/>
                  <a:gd name="connsiteX4" fmla="*/ 23230 w 360317"/>
                  <a:gd name="connsiteY4" fmla="*/ 85368 h 353819"/>
                  <a:gd name="connsiteX5" fmla="*/ 0 w 360317"/>
                  <a:gd name="connsiteY5" fmla="*/ 176585 h 353819"/>
                  <a:gd name="connsiteX6" fmla="*/ 23230 w 360317"/>
                  <a:gd name="connsiteY6" fmla="*/ 267802 h 353819"/>
                  <a:gd name="connsiteX7" fmla="*/ 87643 w 360317"/>
                  <a:gd name="connsiteY7" fmla="*/ 330914 h 353819"/>
                  <a:gd name="connsiteX8" fmla="*/ 180484 w 360317"/>
                  <a:gd name="connsiteY8" fmla="*/ 353820 h 353819"/>
                  <a:gd name="connsiteX9" fmla="*/ 273000 w 360317"/>
                  <a:gd name="connsiteY9" fmla="*/ 330914 h 353819"/>
                  <a:gd name="connsiteX10" fmla="*/ 337087 w 360317"/>
                  <a:gd name="connsiteY10" fmla="*/ 267802 h 353819"/>
                  <a:gd name="connsiteX11" fmla="*/ 360318 w 360317"/>
                  <a:gd name="connsiteY11" fmla="*/ 176585 h 353819"/>
                  <a:gd name="connsiteX12" fmla="*/ 337087 w 360317"/>
                  <a:gd name="connsiteY12" fmla="*/ 85368 h 353819"/>
                  <a:gd name="connsiteX13" fmla="*/ 281854 w 360317"/>
                  <a:gd name="connsiteY13" fmla="*/ 240266 h 353819"/>
                  <a:gd name="connsiteX14" fmla="*/ 240347 w 360317"/>
                  <a:gd name="connsiteY14" fmla="*/ 283397 h 353819"/>
                  <a:gd name="connsiteX15" fmla="*/ 180565 w 360317"/>
                  <a:gd name="connsiteY15" fmla="*/ 298749 h 353819"/>
                  <a:gd name="connsiteX16" fmla="*/ 120783 w 360317"/>
                  <a:gd name="connsiteY16" fmla="*/ 283397 h 353819"/>
                  <a:gd name="connsiteX17" fmla="*/ 78951 w 360317"/>
                  <a:gd name="connsiteY17" fmla="*/ 240266 h 353819"/>
                  <a:gd name="connsiteX18" fmla="*/ 63600 w 360317"/>
                  <a:gd name="connsiteY18" fmla="*/ 176504 h 353819"/>
                  <a:gd name="connsiteX19" fmla="*/ 78951 w 360317"/>
                  <a:gd name="connsiteY19" fmla="*/ 112741 h 353819"/>
                  <a:gd name="connsiteX20" fmla="*/ 120783 w 360317"/>
                  <a:gd name="connsiteY20" fmla="*/ 69935 h 353819"/>
                  <a:gd name="connsiteX21" fmla="*/ 180565 w 360317"/>
                  <a:gd name="connsiteY21" fmla="*/ 54909 h 353819"/>
                  <a:gd name="connsiteX22" fmla="*/ 240347 w 360317"/>
                  <a:gd name="connsiteY22" fmla="*/ 69935 h 353819"/>
                  <a:gd name="connsiteX23" fmla="*/ 281854 w 360317"/>
                  <a:gd name="connsiteY23" fmla="*/ 112741 h 353819"/>
                  <a:gd name="connsiteX24" fmla="*/ 296880 w 360317"/>
                  <a:gd name="connsiteY24" fmla="*/ 176504 h 353819"/>
                  <a:gd name="connsiteX25" fmla="*/ 281854 w 360317"/>
                  <a:gd name="connsiteY25" fmla="*/ 240266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337087" y="85368"/>
                    </a:moveTo>
                    <a:cubicBezTo>
                      <a:pt x="321654" y="58564"/>
                      <a:pt x="300292" y="37689"/>
                      <a:pt x="273000" y="22581"/>
                    </a:cubicBezTo>
                    <a:cubicBezTo>
                      <a:pt x="245790" y="7554"/>
                      <a:pt x="214923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8" y="37607"/>
                      <a:pt x="38744" y="58564"/>
                      <a:pt x="23230" y="85368"/>
                    </a:cubicBezTo>
                    <a:cubicBezTo>
                      <a:pt x="7797" y="112173"/>
                      <a:pt x="0" y="142551"/>
                      <a:pt x="0" y="176585"/>
                    </a:cubicBezTo>
                    <a:cubicBezTo>
                      <a:pt x="0" y="210619"/>
                      <a:pt x="7717" y="240997"/>
                      <a:pt x="23230" y="267802"/>
                    </a:cubicBezTo>
                    <a:cubicBezTo>
                      <a:pt x="38744" y="294606"/>
                      <a:pt x="60188" y="315644"/>
                      <a:pt x="87643" y="330914"/>
                    </a:cubicBez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3" y="353820"/>
                      <a:pt x="245708" y="346185"/>
                      <a:pt x="273000" y="330914"/>
                    </a:cubicBezTo>
                    <a:cubicBezTo>
                      <a:pt x="300210" y="315644"/>
                      <a:pt x="321573" y="294606"/>
                      <a:pt x="337087" y="267802"/>
                    </a:cubicBezTo>
                    <a:cubicBezTo>
                      <a:pt x="352601" y="240997"/>
                      <a:pt x="360318" y="210619"/>
                      <a:pt x="360318" y="176585"/>
                    </a:cubicBezTo>
                    <a:cubicBezTo>
                      <a:pt x="360318" y="142551"/>
                      <a:pt x="352601" y="112173"/>
                      <a:pt x="337087" y="85368"/>
                    </a:cubicBezTo>
                    <a:close/>
                    <a:moveTo>
                      <a:pt x="281854" y="240266"/>
                    </a:moveTo>
                    <a:cubicBezTo>
                      <a:pt x="271863" y="258785"/>
                      <a:pt x="257973" y="273163"/>
                      <a:pt x="240347" y="283397"/>
                    </a:cubicBezTo>
                    <a:cubicBezTo>
                      <a:pt x="222721" y="293631"/>
                      <a:pt x="202739" y="298749"/>
                      <a:pt x="180565" y="298749"/>
                    </a:cubicBezTo>
                    <a:cubicBezTo>
                      <a:pt x="158390" y="298749"/>
                      <a:pt x="138409" y="293631"/>
                      <a:pt x="120783" y="283397"/>
                    </a:cubicBezTo>
                    <a:cubicBezTo>
                      <a:pt x="103157" y="273163"/>
                      <a:pt x="89186" y="258785"/>
                      <a:pt x="78951" y="240266"/>
                    </a:cubicBezTo>
                    <a:cubicBezTo>
                      <a:pt x="68717" y="221747"/>
                      <a:pt x="63600" y="200465"/>
                      <a:pt x="63600" y="176504"/>
                    </a:cubicBezTo>
                    <a:cubicBezTo>
                      <a:pt x="63600" y="152542"/>
                      <a:pt x="68717" y="131261"/>
                      <a:pt x="78951" y="112741"/>
                    </a:cubicBezTo>
                    <a:cubicBezTo>
                      <a:pt x="89186" y="94222"/>
                      <a:pt x="103157" y="79926"/>
                      <a:pt x="120783" y="69935"/>
                    </a:cubicBezTo>
                    <a:cubicBezTo>
                      <a:pt x="138409" y="59863"/>
                      <a:pt x="158309" y="54909"/>
                      <a:pt x="180565" y="54909"/>
                    </a:cubicBezTo>
                    <a:cubicBezTo>
                      <a:pt x="202821" y="54909"/>
                      <a:pt x="222721" y="59945"/>
                      <a:pt x="240347" y="69935"/>
                    </a:cubicBezTo>
                    <a:cubicBezTo>
                      <a:pt x="257973" y="79926"/>
                      <a:pt x="271863" y="94222"/>
                      <a:pt x="281854" y="112741"/>
                    </a:cubicBezTo>
                    <a:cubicBezTo>
                      <a:pt x="291926" y="131261"/>
                      <a:pt x="296880" y="152542"/>
                      <a:pt x="296880" y="176504"/>
                    </a:cubicBezTo>
                    <a:cubicBezTo>
                      <a:pt x="296880" y="200465"/>
                      <a:pt x="291844" y="221747"/>
                      <a:pt x="281854" y="2402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1" name="Полилиния: фигура 40">
                <a:extLst>
                  <a:ext uri="{FF2B5EF4-FFF2-40B4-BE49-F238E27FC236}">
                    <a16:creationId xmlns:a16="http://schemas.microsoft.com/office/drawing/2014/main" id="{319C3576-68F8-40AE-8E2C-16FC32321FA0}"/>
                  </a:ext>
                </a:extLst>
              </p:cNvPr>
              <p:cNvSpPr/>
              <p:nvPr/>
            </p:nvSpPr>
            <p:spPr>
              <a:xfrm>
                <a:off x="8199668" y="3386193"/>
                <a:ext cx="254968" cy="346428"/>
              </a:xfrm>
              <a:custGeom>
                <a:avLst/>
                <a:gdLst>
                  <a:gd name="connsiteX0" fmla="*/ 0 w 254968"/>
                  <a:gd name="connsiteY0" fmla="*/ 346428 h 346428"/>
                  <a:gd name="connsiteX1" fmla="*/ 62787 w 254968"/>
                  <a:gd name="connsiteY1" fmla="*/ 346428 h 346428"/>
                  <a:gd name="connsiteX2" fmla="*/ 62787 w 254968"/>
                  <a:gd name="connsiteY2" fmla="*/ 54909 h 346428"/>
                  <a:gd name="connsiteX3" fmla="*/ 254968 w 254968"/>
                  <a:gd name="connsiteY3" fmla="*/ 54909 h 346428"/>
                  <a:gd name="connsiteX4" fmla="*/ 254968 w 254968"/>
                  <a:gd name="connsiteY4" fmla="*/ 0 h 346428"/>
                  <a:gd name="connsiteX5" fmla="*/ 0 w 254968"/>
                  <a:gd name="connsiteY5" fmla="*/ 0 h 346428"/>
                  <a:gd name="connsiteX6" fmla="*/ 0 w 254968"/>
                  <a:gd name="connsiteY6" fmla="*/ 34642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968" h="346428">
                    <a:moveTo>
                      <a:pt x="0" y="346428"/>
                    </a:moveTo>
                    <a:lnTo>
                      <a:pt x="62787" y="346428"/>
                    </a:lnTo>
                    <a:lnTo>
                      <a:pt x="62787" y="54909"/>
                    </a:lnTo>
                    <a:lnTo>
                      <a:pt x="254968" y="54909"/>
                    </a:lnTo>
                    <a:lnTo>
                      <a:pt x="254968" y="0"/>
                    </a:lnTo>
                    <a:lnTo>
                      <a:pt x="0" y="0"/>
                    </a:lnTo>
                    <a:lnTo>
                      <a:pt x="0" y="34642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2" name="Полилиния: фигура 41">
                <a:extLst>
                  <a:ext uri="{FF2B5EF4-FFF2-40B4-BE49-F238E27FC236}">
                    <a16:creationId xmlns:a16="http://schemas.microsoft.com/office/drawing/2014/main" id="{4B360CBB-B216-4F49-B907-3D78EA02EDB9}"/>
                  </a:ext>
                </a:extLst>
              </p:cNvPr>
              <p:cNvSpPr/>
              <p:nvPr/>
            </p:nvSpPr>
            <p:spPr>
              <a:xfrm>
                <a:off x="8471612" y="3382782"/>
                <a:ext cx="360317" cy="353819"/>
              </a:xfrm>
              <a:custGeom>
                <a:avLst/>
                <a:gdLst>
                  <a:gd name="connsiteX0" fmla="*/ 87643 w 360317"/>
                  <a:gd name="connsiteY0" fmla="*/ 330914 h 353819"/>
                  <a:gd name="connsiteX1" fmla="*/ 180484 w 360317"/>
                  <a:gd name="connsiteY1" fmla="*/ 353820 h 353819"/>
                  <a:gd name="connsiteX2" fmla="*/ 273000 w 360317"/>
                  <a:gd name="connsiteY2" fmla="*/ 330914 h 353819"/>
                  <a:gd name="connsiteX3" fmla="*/ 337087 w 360317"/>
                  <a:gd name="connsiteY3" fmla="*/ 267802 h 353819"/>
                  <a:gd name="connsiteX4" fmla="*/ 360318 w 360317"/>
                  <a:gd name="connsiteY4" fmla="*/ 176585 h 353819"/>
                  <a:gd name="connsiteX5" fmla="*/ 337087 w 360317"/>
                  <a:gd name="connsiteY5" fmla="*/ 85368 h 353819"/>
                  <a:gd name="connsiteX6" fmla="*/ 273000 w 360317"/>
                  <a:gd name="connsiteY6" fmla="*/ 22581 h 353819"/>
                  <a:gd name="connsiteX7" fmla="*/ 180484 w 360317"/>
                  <a:gd name="connsiteY7" fmla="*/ 0 h 353819"/>
                  <a:gd name="connsiteX8" fmla="*/ 87643 w 360317"/>
                  <a:gd name="connsiteY8" fmla="*/ 22581 h 353819"/>
                  <a:gd name="connsiteX9" fmla="*/ 23230 w 360317"/>
                  <a:gd name="connsiteY9" fmla="*/ 85368 h 353819"/>
                  <a:gd name="connsiteX10" fmla="*/ 0 w 360317"/>
                  <a:gd name="connsiteY10" fmla="*/ 176585 h 353819"/>
                  <a:gd name="connsiteX11" fmla="*/ 23230 w 360317"/>
                  <a:gd name="connsiteY11" fmla="*/ 267802 h 353819"/>
                  <a:gd name="connsiteX12" fmla="*/ 87643 w 360317"/>
                  <a:gd name="connsiteY12" fmla="*/ 330914 h 353819"/>
                  <a:gd name="connsiteX13" fmla="*/ 78790 w 360317"/>
                  <a:gd name="connsiteY13" fmla="*/ 112904 h 353819"/>
                  <a:gd name="connsiteX14" fmla="*/ 120620 w 360317"/>
                  <a:gd name="connsiteY14" fmla="*/ 70098 h 353819"/>
                  <a:gd name="connsiteX15" fmla="*/ 180403 w 360317"/>
                  <a:gd name="connsiteY15" fmla="*/ 55071 h 353819"/>
                  <a:gd name="connsiteX16" fmla="*/ 240267 w 360317"/>
                  <a:gd name="connsiteY16" fmla="*/ 70098 h 353819"/>
                  <a:gd name="connsiteX17" fmla="*/ 281773 w 360317"/>
                  <a:gd name="connsiteY17" fmla="*/ 112904 h 353819"/>
                  <a:gd name="connsiteX18" fmla="*/ 296800 w 360317"/>
                  <a:gd name="connsiteY18" fmla="*/ 176666 h 353819"/>
                  <a:gd name="connsiteX19" fmla="*/ 281773 w 360317"/>
                  <a:gd name="connsiteY19" fmla="*/ 240429 h 353819"/>
                  <a:gd name="connsiteX20" fmla="*/ 240267 w 360317"/>
                  <a:gd name="connsiteY20" fmla="*/ 283560 h 353819"/>
                  <a:gd name="connsiteX21" fmla="*/ 180403 w 360317"/>
                  <a:gd name="connsiteY21" fmla="*/ 298911 h 353819"/>
                  <a:gd name="connsiteX22" fmla="*/ 120620 w 360317"/>
                  <a:gd name="connsiteY22" fmla="*/ 283560 h 353819"/>
                  <a:gd name="connsiteX23" fmla="*/ 78790 w 360317"/>
                  <a:gd name="connsiteY23" fmla="*/ 240429 h 353819"/>
                  <a:gd name="connsiteX24" fmla="*/ 63438 w 360317"/>
                  <a:gd name="connsiteY24" fmla="*/ 176666 h 353819"/>
                  <a:gd name="connsiteX25" fmla="*/ 78790 w 360317"/>
                  <a:gd name="connsiteY25" fmla="*/ 112904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87643" y="330914"/>
                    </a:move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ubicBezTo>
                      <a:pt x="300211" y="315644"/>
                      <a:pt x="321574" y="294606"/>
                      <a:pt x="337087" y="267802"/>
                    </a:cubicBezTo>
                    <a:cubicBezTo>
                      <a:pt x="352520" y="240997"/>
                      <a:pt x="360318" y="210619"/>
                      <a:pt x="360318" y="176585"/>
                    </a:cubicBezTo>
                    <a:cubicBezTo>
                      <a:pt x="360318" y="142551"/>
                      <a:pt x="352602" y="112173"/>
                      <a:pt x="337087" y="85368"/>
                    </a:cubicBezTo>
                    <a:cubicBezTo>
                      <a:pt x="321574" y="58564"/>
                      <a:pt x="300292" y="37689"/>
                      <a:pt x="273000" y="22581"/>
                    </a:cubicBezTo>
                    <a:cubicBezTo>
                      <a:pt x="245708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9" y="37608"/>
                      <a:pt x="38745" y="58564"/>
                      <a:pt x="23230" y="85368"/>
                    </a:cubicBezTo>
                    <a:cubicBezTo>
                      <a:pt x="7717" y="112173"/>
                      <a:pt x="0" y="142551"/>
                      <a:pt x="0" y="176585"/>
                    </a:cubicBezTo>
                    <a:cubicBezTo>
                      <a:pt x="0" y="210619"/>
                      <a:pt x="7717" y="240997"/>
                      <a:pt x="23230" y="267802"/>
                    </a:cubicBezTo>
                    <a:cubicBezTo>
                      <a:pt x="38664" y="294606"/>
                      <a:pt x="60189" y="315644"/>
                      <a:pt x="87643" y="330914"/>
                    </a:cubicBezTo>
                    <a:close/>
                    <a:moveTo>
                      <a:pt x="78790" y="112904"/>
                    </a:moveTo>
                    <a:cubicBezTo>
                      <a:pt x="89024" y="94384"/>
                      <a:pt x="102995" y="80089"/>
                      <a:pt x="120620" y="70098"/>
                    </a:cubicBezTo>
                    <a:cubicBezTo>
                      <a:pt x="138247" y="60026"/>
                      <a:pt x="158228" y="55071"/>
                      <a:pt x="180403" y="55071"/>
                    </a:cubicBezTo>
                    <a:cubicBezTo>
                      <a:pt x="202578" y="55071"/>
                      <a:pt x="222559" y="60107"/>
                      <a:pt x="240267" y="70098"/>
                    </a:cubicBezTo>
                    <a:cubicBezTo>
                      <a:pt x="257892" y="80089"/>
                      <a:pt x="271782" y="94384"/>
                      <a:pt x="281773" y="112904"/>
                    </a:cubicBezTo>
                    <a:cubicBezTo>
                      <a:pt x="291764" y="131424"/>
                      <a:pt x="296800" y="152705"/>
                      <a:pt x="296800" y="176666"/>
                    </a:cubicBezTo>
                    <a:cubicBezTo>
                      <a:pt x="296800" y="200628"/>
                      <a:pt x="291764" y="221909"/>
                      <a:pt x="281773" y="240429"/>
                    </a:cubicBezTo>
                    <a:cubicBezTo>
                      <a:pt x="271782" y="258948"/>
                      <a:pt x="257892" y="273325"/>
                      <a:pt x="240267" y="283560"/>
                    </a:cubicBezTo>
                    <a:cubicBezTo>
                      <a:pt x="222640" y="293794"/>
                      <a:pt x="202659" y="298911"/>
                      <a:pt x="180403" y="298911"/>
                    </a:cubicBezTo>
                    <a:cubicBezTo>
                      <a:pt x="158146" y="298911"/>
                      <a:pt x="138247" y="293794"/>
                      <a:pt x="120620" y="283560"/>
                    </a:cubicBezTo>
                    <a:cubicBezTo>
                      <a:pt x="102995" y="273325"/>
                      <a:pt x="89024" y="258948"/>
                      <a:pt x="78790" y="240429"/>
                    </a:cubicBezTo>
                    <a:cubicBezTo>
                      <a:pt x="68555" y="221909"/>
                      <a:pt x="63438" y="200628"/>
                      <a:pt x="63438" y="176666"/>
                    </a:cubicBezTo>
                    <a:cubicBezTo>
                      <a:pt x="63438" y="152705"/>
                      <a:pt x="68555" y="131424"/>
                      <a:pt x="78790" y="1129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3" name="Полилиния: фигура 42">
                <a:extLst>
                  <a:ext uri="{FF2B5EF4-FFF2-40B4-BE49-F238E27FC236}">
                    <a16:creationId xmlns:a16="http://schemas.microsoft.com/office/drawing/2014/main" id="{4D1168D5-3527-4BCE-8F33-41E8E25E937B}"/>
                  </a:ext>
                </a:extLst>
              </p:cNvPr>
              <p:cNvSpPr/>
              <p:nvPr/>
            </p:nvSpPr>
            <p:spPr>
              <a:xfrm>
                <a:off x="9098595" y="3382863"/>
                <a:ext cx="358855" cy="476552"/>
              </a:xfrm>
              <a:custGeom>
                <a:avLst/>
                <a:gdLst>
                  <a:gd name="connsiteX0" fmla="*/ 336275 w 358855"/>
                  <a:gd name="connsiteY0" fmla="*/ 269020 h 476552"/>
                  <a:gd name="connsiteX1" fmla="*/ 358855 w 358855"/>
                  <a:gd name="connsiteY1" fmla="*/ 176504 h 476552"/>
                  <a:gd name="connsiteX2" fmla="*/ 336275 w 358855"/>
                  <a:gd name="connsiteY2" fmla="*/ 84312 h 476552"/>
                  <a:gd name="connsiteX3" fmla="*/ 273812 w 358855"/>
                  <a:gd name="connsiteY3" fmla="*/ 22256 h 476552"/>
                  <a:gd name="connsiteX4" fmla="*/ 183652 w 358855"/>
                  <a:gd name="connsiteY4" fmla="*/ 0 h 476552"/>
                  <a:gd name="connsiteX5" fmla="*/ 113066 w 358855"/>
                  <a:gd name="connsiteY5" fmla="*/ 14702 h 476552"/>
                  <a:gd name="connsiteX6" fmla="*/ 60107 w 358855"/>
                  <a:gd name="connsiteY6" fmla="*/ 58158 h 476552"/>
                  <a:gd name="connsiteX7" fmla="*/ 60107 w 358855"/>
                  <a:gd name="connsiteY7" fmla="*/ 3249 h 476552"/>
                  <a:gd name="connsiteX8" fmla="*/ 0 w 358855"/>
                  <a:gd name="connsiteY8" fmla="*/ 3249 h 476552"/>
                  <a:gd name="connsiteX9" fmla="*/ 0 w 358855"/>
                  <a:gd name="connsiteY9" fmla="*/ 476552 h 476552"/>
                  <a:gd name="connsiteX10" fmla="*/ 62787 w 358855"/>
                  <a:gd name="connsiteY10" fmla="*/ 476552 h 476552"/>
                  <a:gd name="connsiteX11" fmla="*/ 62787 w 358855"/>
                  <a:gd name="connsiteY11" fmla="*/ 297449 h 476552"/>
                  <a:gd name="connsiteX12" fmla="*/ 115422 w 358855"/>
                  <a:gd name="connsiteY12" fmla="*/ 339280 h 476552"/>
                  <a:gd name="connsiteX13" fmla="*/ 183733 w 358855"/>
                  <a:gd name="connsiteY13" fmla="*/ 353657 h 476552"/>
                  <a:gd name="connsiteX14" fmla="*/ 273893 w 358855"/>
                  <a:gd name="connsiteY14" fmla="*/ 331401 h 476552"/>
                  <a:gd name="connsiteX15" fmla="*/ 336356 w 358855"/>
                  <a:gd name="connsiteY15" fmla="*/ 268939 h 476552"/>
                  <a:gd name="connsiteX16" fmla="*/ 280067 w 358855"/>
                  <a:gd name="connsiteY16" fmla="*/ 240266 h 476552"/>
                  <a:gd name="connsiteX17" fmla="*/ 238235 w 358855"/>
                  <a:gd name="connsiteY17" fmla="*/ 283397 h 476552"/>
                  <a:gd name="connsiteX18" fmla="*/ 178453 w 358855"/>
                  <a:gd name="connsiteY18" fmla="*/ 298749 h 476552"/>
                  <a:gd name="connsiteX19" fmla="*/ 118996 w 358855"/>
                  <a:gd name="connsiteY19" fmla="*/ 283397 h 476552"/>
                  <a:gd name="connsiteX20" fmla="*/ 77165 w 358855"/>
                  <a:gd name="connsiteY20" fmla="*/ 240266 h 476552"/>
                  <a:gd name="connsiteX21" fmla="*/ 62138 w 358855"/>
                  <a:gd name="connsiteY21" fmla="*/ 176504 h 476552"/>
                  <a:gd name="connsiteX22" fmla="*/ 77489 w 358855"/>
                  <a:gd name="connsiteY22" fmla="*/ 113066 h 476552"/>
                  <a:gd name="connsiteX23" fmla="*/ 119320 w 358855"/>
                  <a:gd name="connsiteY23" fmla="*/ 70260 h 476552"/>
                  <a:gd name="connsiteX24" fmla="*/ 178453 w 358855"/>
                  <a:gd name="connsiteY24" fmla="*/ 54909 h 476552"/>
                  <a:gd name="connsiteX25" fmla="*/ 238235 w 358855"/>
                  <a:gd name="connsiteY25" fmla="*/ 69935 h 476552"/>
                  <a:gd name="connsiteX26" fmla="*/ 280067 w 358855"/>
                  <a:gd name="connsiteY26" fmla="*/ 112741 h 476552"/>
                  <a:gd name="connsiteX27" fmla="*/ 295418 w 358855"/>
                  <a:gd name="connsiteY27" fmla="*/ 176504 h 476552"/>
                  <a:gd name="connsiteX28" fmla="*/ 280067 w 358855"/>
                  <a:gd name="connsiteY28" fmla="*/ 240266 h 476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58855" h="476552">
                    <a:moveTo>
                      <a:pt x="336275" y="269020"/>
                    </a:moveTo>
                    <a:cubicBezTo>
                      <a:pt x="351302" y="242215"/>
                      <a:pt x="358855" y="211431"/>
                      <a:pt x="358855" y="176504"/>
                    </a:cubicBezTo>
                    <a:cubicBezTo>
                      <a:pt x="358855" y="141577"/>
                      <a:pt x="351302" y="110954"/>
                      <a:pt x="336275" y="84312"/>
                    </a:cubicBezTo>
                    <a:cubicBezTo>
                      <a:pt x="321248" y="57751"/>
                      <a:pt x="300373" y="37039"/>
                      <a:pt x="273812" y="22256"/>
                    </a:cubicBezTo>
                    <a:cubicBezTo>
                      <a:pt x="247251" y="7473"/>
                      <a:pt x="217198" y="0"/>
                      <a:pt x="183652" y="0"/>
                    </a:cubicBezTo>
                    <a:cubicBezTo>
                      <a:pt x="157903" y="0"/>
                      <a:pt x="134428" y="4873"/>
                      <a:pt x="113066" y="14702"/>
                    </a:cubicBezTo>
                    <a:cubicBezTo>
                      <a:pt x="91703" y="24530"/>
                      <a:pt x="74078" y="38988"/>
                      <a:pt x="60107" y="58158"/>
                    </a:cubicBezTo>
                    <a:lnTo>
                      <a:pt x="60107" y="3249"/>
                    </a:lnTo>
                    <a:lnTo>
                      <a:pt x="0" y="3249"/>
                    </a:lnTo>
                    <a:lnTo>
                      <a:pt x="0" y="476552"/>
                    </a:lnTo>
                    <a:lnTo>
                      <a:pt x="62787" y="476552"/>
                    </a:lnTo>
                    <a:lnTo>
                      <a:pt x="62787" y="297449"/>
                    </a:lnTo>
                    <a:cubicBezTo>
                      <a:pt x="77165" y="315806"/>
                      <a:pt x="94709" y="329696"/>
                      <a:pt x="115422" y="339280"/>
                    </a:cubicBezTo>
                    <a:cubicBezTo>
                      <a:pt x="136135" y="348865"/>
                      <a:pt x="158877" y="353657"/>
                      <a:pt x="183733" y="353657"/>
                    </a:cubicBezTo>
                    <a:cubicBezTo>
                      <a:pt x="217279" y="353657"/>
                      <a:pt x="247332" y="346266"/>
                      <a:pt x="273893" y="331401"/>
                    </a:cubicBezTo>
                    <a:cubicBezTo>
                      <a:pt x="300454" y="316537"/>
                      <a:pt x="321329" y="295743"/>
                      <a:pt x="336356" y="268939"/>
                    </a:cubicBezTo>
                    <a:close/>
                    <a:moveTo>
                      <a:pt x="280067" y="240266"/>
                    </a:moveTo>
                    <a:cubicBezTo>
                      <a:pt x="269832" y="258785"/>
                      <a:pt x="255861" y="273163"/>
                      <a:pt x="238235" y="283397"/>
                    </a:cubicBezTo>
                    <a:cubicBezTo>
                      <a:pt x="220609" y="293631"/>
                      <a:pt x="200627" y="298749"/>
                      <a:pt x="178453" y="298749"/>
                    </a:cubicBezTo>
                    <a:cubicBezTo>
                      <a:pt x="156278" y="298749"/>
                      <a:pt x="136865" y="293631"/>
                      <a:pt x="118996" y="283397"/>
                    </a:cubicBezTo>
                    <a:cubicBezTo>
                      <a:pt x="101126" y="273163"/>
                      <a:pt x="87155" y="258785"/>
                      <a:pt x="77165" y="240266"/>
                    </a:cubicBezTo>
                    <a:cubicBezTo>
                      <a:pt x="67093" y="221747"/>
                      <a:pt x="62138" y="200465"/>
                      <a:pt x="62138" y="176504"/>
                    </a:cubicBezTo>
                    <a:cubicBezTo>
                      <a:pt x="62138" y="152542"/>
                      <a:pt x="67254" y="131423"/>
                      <a:pt x="77489" y="113066"/>
                    </a:cubicBezTo>
                    <a:cubicBezTo>
                      <a:pt x="87723" y="94709"/>
                      <a:pt x="101695" y="80495"/>
                      <a:pt x="119320" y="70260"/>
                    </a:cubicBezTo>
                    <a:cubicBezTo>
                      <a:pt x="136947" y="60026"/>
                      <a:pt x="156684" y="54909"/>
                      <a:pt x="178453" y="54909"/>
                    </a:cubicBezTo>
                    <a:cubicBezTo>
                      <a:pt x="200222" y="54909"/>
                      <a:pt x="220609" y="59945"/>
                      <a:pt x="238235" y="69935"/>
                    </a:cubicBezTo>
                    <a:cubicBezTo>
                      <a:pt x="255861" y="79926"/>
                      <a:pt x="269832" y="94222"/>
                      <a:pt x="280067" y="112741"/>
                    </a:cubicBezTo>
                    <a:cubicBezTo>
                      <a:pt x="290301" y="131261"/>
                      <a:pt x="295418" y="152542"/>
                      <a:pt x="295418" y="176504"/>
                    </a:cubicBezTo>
                    <a:cubicBezTo>
                      <a:pt x="295418" y="200465"/>
                      <a:pt x="290301" y="221747"/>
                      <a:pt x="280067" y="2402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4" name="Полилиния: фигура 43">
                <a:extLst>
                  <a:ext uri="{FF2B5EF4-FFF2-40B4-BE49-F238E27FC236}">
                    <a16:creationId xmlns:a16="http://schemas.microsoft.com/office/drawing/2014/main" id="{FB74FC17-D448-49E3-945F-1A3968B2712C}"/>
                  </a:ext>
                </a:extLst>
              </p:cNvPr>
              <p:cNvSpPr/>
              <p:nvPr/>
            </p:nvSpPr>
            <p:spPr>
              <a:xfrm>
                <a:off x="9515526" y="3382863"/>
                <a:ext cx="301429" cy="353494"/>
              </a:xfrm>
              <a:custGeom>
                <a:avLst/>
                <a:gdLst>
                  <a:gd name="connsiteX0" fmla="*/ 301429 w 301429"/>
                  <a:gd name="connsiteY0" fmla="*/ 349759 h 353494"/>
                  <a:gd name="connsiteX1" fmla="*/ 301429 w 301429"/>
                  <a:gd name="connsiteY1" fmla="*/ 140602 h 353494"/>
                  <a:gd name="connsiteX2" fmla="*/ 263172 w 301429"/>
                  <a:gd name="connsiteY2" fmla="*/ 35333 h 353494"/>
                  <a:gd name="connsiteX3" fmla="*/ 153029 w 301429"/>
                  <a:gd name="connsiteY3" fmla="*/ 0 h 353494"/>
                  <a:gd name="connsiteX4" fmla="*/ 73915 w 301429"/>
                  <a:gd name="connsiteY4" fmla="*/ 11453 h 353494"/>
                  <a:gd name="connsiteX5" fmla="*/ 9828 w 301429"/>
                  <a:gd name="connsiteY5" fmla="*/ 44430 h 353494"/>
                  <a:gd name="connsiteX6" fmla="*/ 35983 w 301429"/>
                  <a:gd name="connsiteY6" fmla="*/ 91460 h 353494"/>
                  <a:gd name="connsiteX7" fmla="*/ 85694 w 301429"/>
                  <a:gd name="connsiteY7" fmla="*/ 64331 h 353494"/>
                  <a:gd name="connsiteX8" fmla="*/ 145800 w 301429"/>
                  <a:gd name="connsiteY8" fmla="*/ 54178 h 353494"/>
                  <a:gd name="connsiteX9" fmla="*/ 215086 w 301429"/>
                  <a:gd name="connsiteY9" fmla="*/ 75784 h 353494"/>
                  <a:gd name="connsiteX10" fmla="*/ 238642 w 301429"/>
                  <a:gd name="connsiteY10" fmla="*/ 137840 h 353494"/>
                  <a:gd name="connsiteX11" fmla="*/ 238642 w 301429"/>
                  <a:gd name="connsiteY11" fmla="*/ 150268 h 353494"/>
                  <a:gd name="connsiteX12" fmla="*/ 139221 w 301429"/>
                  <a:gd name="connsiteY12" fmla="*/ 150268 h 353494"/>
                  <a:gd name="connsiteX13" fmla="*/ 33302 w 301429"/>
                  <a:gd name="connsiteY13" fmla="*/ 178047 h 353494"/>
                  <a:gd name="connsiteX14" fmla="*/ 0 w 301429"/>
                  <a:gd name="connsiteY14" fmla="*/ 251556 h 353494"/>
                  <a:gd name="connsiteX15" fmla="*/ 35009 w 301429"/>
                  <a:gd name="connsiteY15" fmla="*/ 325391 h 353494"/>
                  <a:gd name="connsiteX16" fmla="*/ 128175 w 301429"/>
                  <a:gd name="connsiteY16" fmla="*/ 353495 h 353494"/>
                  <a:gd name="connsiteX17" fmla="*/ 197135 w 301429"/>
                  <a:gd name="connsiteY17" fmla="*/ 340742 h 353494"/>
                  <a:gd name="connsiteX18" fmla="*/ 241891 w 301429"/>
                  <a:gd name="connsiteY18" fmla="*/ 303785 h 353494"/>
                  <a:gd name="connsiteX19" fmla="*/ 241891 w 301429"/>
                  <a:gd name="connsiteY19" fmla="*/ 349515 h 353494"/>
                  <a:gd name="connsiteX20" fmla="*/ 301348 w 301429"/>
                  <a:gd name="connsiteY20" fmla="*/ 349515 h 353494"/>
                  <a:gd name="connsiteX21" fmla="*/ 238723 w 301429"/>
                  <a:gd name="connsiteY21" fmla="*/ 243921 h 353494"/>
                  <a:gd name="connsiteX22" fmla="*/ 200790 w 301429"/>
                  <a:gd name="connsiteY22" fmla="*/ 289326 h 353494"/>
                  <a:gd name="connsiteX23" fmla="*/ 138653 w 301429"/>
                  <a:gd name="connsiteY23" fmla="*/ 305328 h 353494"/>
                  <a:gd name="connsiteX24" fmla="*/ 82444 w 301429"/>
                  <a:gd name="connsiteY24" fmla="*/ 290301 h 353494"/>
                  <a:gd name="connsiteX25" fmla="*/ 62219 w 301429"/>
                  <a:gd name="connsiteY25" fmla="*/ 249120 h 353494"/>
                  <a:gd name="connsiteX26" fmla="*/ 141983 w 301429"/>
                  <a:gd name="connsiteY26" fmla="*/ 195511 h 353494"/>
                  <a:gd name="connsiteX27" fmla="*/ 238723 w 301429"/>
                  <a:gd name="connsiteY27" fmla="*/ 195511 h 353494"/>
                  <a:gd name="connsiteX28" fmla="*/ 238723 w 301429"/>
                  <a:gd name="connsiteY28" fmla="*/ 243921 h 353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01429" h="353494">
                    <a:moveTo>
                      <a:pt x="301429" y="349759"/>
                    </a:moveTo>
                    <a:lnTo>
                      <a:pt x="301429" y="140602"/>
                    </a:lnTo>
                    <a:cubicBezTo>
                      <a:pt x="301429" y="93978"/>
                      <a:pt x="288677" y="58889"/>
                      <a:pt x="263172" y="35333"/>
                    </a:cubicBezTo>
                    <a:cubicBezTo>
                      <a:pt x="237667" y="11778"/>
                      <a:pt x="200953" y="0"/>
                      <a:pt x="153029" y="0"/>
                    </a:cubicBezTo>
                    <a:cubicBezTo>
                      <a:pt x="125169" y="0"/>
                      <a:pt x="98771" y="3818"/>
                      <a:pt x="73915" y="11453"/>
                    </a:cubicBezTo>
                    <a:cubicBezTo>
                      <a:pt x="49061" y="19088"/>
                      <a:pt x="27698" y="30054"/>
                      <a:pt x="9828" y="44430"/>
                    </a:cubicBezTo>
                    <a:lnTo>
                      <a:pt x="35983" y="91460"/>
                    </a:lnTo>
                    <a:cubicBezTo>
                      <a:pt x="49466" y="80170"/>
                      <a:pt x="66118" y="71073"/>
                      <a:pt x="85694" y="64331"/>
                    </a:cubicBezTo>
                    <a:cubicBezTo>
                      <a:pt x="105268" y="57589"/>
                      <a:pt x="125332" y="54178"/>
                      <a:pt x="145800" y="54178"/>
                    </a:cubicBezTo>
                    <a:cubicBezTo>
                      <a:pt x="176341" y="54178"/>
                      <a:pt x="199410" y="61407"/>
                      <a:pt x="215086" y="75784"/>
                    </a:cubicBezTo>
                    <a:cubicBezTo>
                      <a:pt x="230763" y="90161"/>
                      <a:pt x="238642" y="110873"/>
                      <a:pt x="238642" y="137840"/>
                    </a:cubicBezTo>
                    <a:lnTo>
                      <a:pt x="238642" y="150268"/>
                    </a:lnTo>
                    <a:lnTo>
                      <a:pt x="139221" y="150268"/>
                    </a:lnTo>
                    <a:cubicBezTo>
                      <a:pt x="90892" y="150268"/>
                      <a:pt x="55558" y="159528"/>
                      <a:pt x="33302" y="178047"/>
                    </a:cubicBezTo>
                    <a:cubicBezTo>
                      <a:pt x="11047" y="196567"/>
                      <a:pt x="0" y="221097"/>
                      <a:pt x="0" y="251556"/>
                    </a:cubicBezTo>
                    <a:cubicBezTo>
                      <a:pt x="0" y="282016"/>
                      <a:pt x="11697" y="306709"/>
                      <a:pt x="35009" y="325391"/>
                    </a:cubicBezTo>
                    <a:cubicBezTo>
                      <a:pt x="58321" y="344154"/>
                      <a:pt x="89430" y="353495"/>
                      <a:pt x="128175" y="353495"/>
                    </a:cubicBezTo>
                    <a:cubicBezTo>
                      <a:pt x="154736" y="353495"/>
                      <a:pt x="177722" y="349271"/>
                      <a:pt x="197135" y="340742"/>
                    </a:cubicBezTo>
                    <a:cubicBezTo>
                      <a:pt x="216548" y="332214"/>
                      <a:pt x="231494" y="319949"/>
                      <a:pt x="241891" y="303785"/>
                    </a:cubicBezTo>
                    <a:lnTo>
                      <a:pt x="241891" y="349515"/>
                    </a:lnTo>
                    <a:lnTo>
                      <a:pt x="301348" y="349515"/>
                    </a:lnTo>
                    <a:close/>
                    <a:moveTo>
                      <a:pt x="238723" y="243921"/>
                    </a:moveTo>
                    <a:cubicBezTo>
                      <a:pt x="230844" y="263497"/>
                      <a:pt x="218254" y="278686"/>
                      <a:pt x="200790" y="289326"/>
                    </a:cubicBezTo>
                    <a:cubicBezTo>
                      <a:pt x="183327" y="300048"/>
                      <a:pt x="162696" y="305328"/>
                      <a:pt x="138653" y="305328"/>
                    </a:cubicBezTo>
                    <a:cubicBezTo>
                      <a:pt x="114610" y="305328"/>
                      <a:pt x="95928" y="300373"/>
                      <a:pt x="82444" y="290301"/>
                    </a:cubicBezTo>
                    <a:cubicBezTo>
                      <a:pt x="68961" y="280310"/>
                      <a:pt x="62219" y="266502"/>
                      <a:pt x="62219" y="249120"/>
                    </a:cubicBezTo>
                    <a:cubicBezTo>
                      <a:pt x="62219" y="213380"/>
                      <a:pt x="88780" y="195511"/>
                      <a:pt x="141983" y="195511"/>
                    </a:cubicBezTo>
                    <a:lnTo>
                      <a:pt x="238723" y="195511"/>
                    </a:lnTo>
                    <a:lnTo>
                      <a:pt x="238723" y="243921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5" name="Полилиния: фигура 44">
                <a:extLst>
                  <a:ext uri="{FF2B5EF4-FFF2-40B4-BE49-F238E27FC236}">
                    <a16:creationId xmlns:a16="http://schemas.microsoft.com/office/drawing/2014/main" id="{D4F31667-C4A5-4EA7-936E-AEED49840DDC}"/>
                  </a:ext>
                </a:extLst>
              </p:cNvPr>
              <p:cNvSpPr/>
              <p:nvPr/>
            </p:nvSpPr>
            <p:spPr>
              <a:xfrm>
                <a:off x="9881612" y="3381726"/>
                <a:ext cx="302727" cy="355688"/>
              </a:xfrm>
              <a:custGeom>
                <a:avLst/>
                <a:gdLst>
                  <a:gd name="connsiteX0" fmla="*/ 230194 w 302727"/>
                  <a:gd name="connsiteY0" fmla="*/ 170493 h 355688"/>
                  <a:gd name="connsiteX1" fmla="*/ 275924 w 302727"/>
                  <a:gd name="connsiteY1" fmla="*/ 139790 h 355688"/>
                  <a:gd name="connsiteX2" fmla="*/ 292900 w 302727"/>
                  <a:gd name="connsiteY2" fmla="*/ 94060 h 355688"/>
                  <a:gd name="connsiteX3" fmla="*/ 273975 w 302727"/>
                  <a:gd name="connsiteY3" fmla="*/ 45080 h 355688"/>
                  <a:gd name="connsiteX4" fmla="*/ 221665 w 302727"/>
                  <a:gd name="connsiteY4" fmla="*/ 11778 h 355688"/>
                  <a:gd name="connsiteX5" fmla="*/ 146449 w 302727"/>
                  <a:gd name="connsiteY5" fmla="*/ 0 h 355688"/>
                  <a:gd name="connsiteX6" fmla="*/ 13727 w 302727"/>
                  <a:gd name="connsiteY6" fmla="*/ 32003 h 355688"/>
                  <a:gd name="connsiteX7" fmla="*/ 30703 w 302727"/>
                  <a:gd name="connsiteY7" fmla="*/ 80414 h 355688"/>
                  <a:gd name="connsiteX8" fmla="*/ 139871 w 302727"/>
                  <a:gd name="connsiteY8" fmla="*/ 53609 h 355688"/>
                  <a:gd name="connsiteX9" fmla="*/ 204282 w 302727"/>
                  <a:gd name="connsiteY9" fmla="*/ 66686 h 355688"/>
                  <a:gd name="connsiteX10" fmla="*/ 228163 w 302727"/>
                  <a:gd name="connsiteY10" fmla="*/ 103319 h 355688"/>
                  <a:gd name="connsiteX11" fmla="*/ 207857 w 302727"/>
                  <a:gd name="connsiteY11" fmla="*/ 137272 h 355688"/>
                  <a:gd name="connsiteX12" fmla="*/ 152298 w 302727"/>
                  <a:gd name="connsiteY12" fmla="*/ 149699 h 355688"/>
                  <a:gd name="connsiteX13" fmla="*/ 93490 w 302727"/>
                  <a:gd name="connsiteY13" fmla="*/ 149699 h 355688"/>
                  <a:gd name="connsiteX14" fmla="*/ 93490 w 302727"/>
                  <a:gd name="connsiteY14" fmla="*/ 194780 h 355688"/>
                  <a:gd name="connsiteX15" fmla="*/ 156928 w 302727"/>
                  <a:gd name="connsiteY15" fmla="*/ 194780 h 355688"/>
                  <a:gd name="connsiteX16" fmla="*/ 216710 w 302727"/>
                  <a:gd name="connsiteY16" fmla="*/ 207857 h 355688"/>
                  <a:gd name="connsiteX17" fmla="*/ 237991 w 302727"/>
                  <a:gd name="connsiteY17" fmla="*/ 245140 h 355688"/>
                  <a:gd name="connsiteX18" fmla="*/ 211511 w 302727"/>
                  <a:gd name="connsiteY18" fmla="*/ 286646 h 355688"/>
                  <a:gd name="connsiteX19" fmla="*/ 140601 w 302727"/>
                  <a:gd name="connsiteY19" fmla="*/ 301998 h 355688"/>
                  <a:gd name="connsiteX20" fmla="*/ 75865 w 302727"/>
                  <a:gd name="connsiteY20" fmla="*/ 293225 h 355688"/>
                  <a:gd name="connsiteX21" fmla="*/ 19007 w 302727"/>
                  <a:gd name="connsiteY21" fmla="*/ 268695 h 355688"/>
                  <a:gd name="connsiteX22" fmla="*/ 0 w 302727"/>
                  <a:gd name="connsiteY22" fmla="*/ 316456 h 355688"/>
                  <a:gd name="connsiteX23" fmla="*/ 65711 w 302727"/>
                  <a:gd name="connsiteY23" fmla="*/ 345535 h 355688"/>
                  <a:gd name="connsiteX24" fmla="*/ 141251 w 302727"/>
                  <a:gd name="connsiteY24" fmla="*/ 355688 h 355688"/>
                  <a:gd name="connsiteX25" fmla="*/ 223939 w 302727"/>
                  <a:gd name="connsiteY25" fmla="*/ 342286 h 355688"/>
                  <a:gd name="connsiteX26" fmla="*/ 281772 w 302727"/>
                  <a:gd name="connsiteY26" fmla="*/ 305003 h 355688"/>
                  <a:gd name="connsiteX27" fmla="*/ 302728 w 302727"/>
                  <a:gd name="connsiteY27" fmla="*/ 250419 h 355688"/>
                  <a:gd name="connsiteX28" fmla="*/ 283721 w 302727"/>
                  <a:gd name="connsiteY28" fmla="*/ 200059 h 355688"/>
                  <a:gd name="connsiteX29" fmla="*/ 230112 w 302727"/>
                  <a:gd name="connsiteY29" fmla="*/ 170656 h 355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302727" h="355688">
                    <a:moveTo>
                      <a:pt x="230194" y="170493"/>
                    </a:moveTo>
                    <a:cubicBezTo>
                      <a:pt x="249363" y="163508"/>
                      <a:pt x="264633" y="153273"/>
                      <a:pt x="275924" y="139790"/>
                    </a:cubicBezTo>
                    <a:cubicBezTo>
                      <a:pt x="287296" y="126306"/>
                      <a:pt x="292900" y="111036"/>
                      <a:pt x="292900" y="94060"/>
                    </a:cubicBezTo>
                    <a:cubicBezTo>
                      <a:pt x="292900" y="75784"/>
                      <a:pt x="286564" y="59376"/>
                      <a:pt x="273975" y="45080"/>
                    </a:cubicBezTo>
                    <a:cubicBezTo>
                      <a:pt x="261303" y="30703"/>
                      <a:pt x="243920" y="19575"/>
                      <a:pt x="221665" y="11778"/>
                    </a:cubicBezTo>
                    <a:cubicBezTo>
                      <a:pt x="199409" y="3899"/>
                      <a:pt x="174392" y="0"/>
                      <a:pt x="146449" y="0"/>
                    </a:cubicBezTo>
                    <a:cubicBezTo>
                      <a:pt x="100232" y="0"/>
                      <a:pt x="55964" y="10722"/>
                      <a:pt x="13727" y="32003"/>
                    </a:cubicBezTo>
                    <a:lnTo>
                      <a:pt x="30703" y="80414"/>
                    </a:lnTo>
                    <a:cubicBezTo>
                      <a:pt x="69042" y="62544"/>
                      <a:pt x="105431" y="53609"/>
                      <a:pt x="139871" y="53609"/>
                    </a:cubicBezTo>
                    <a:cubicBezTo>
                      <a:pt x="166919" y="53609"/>
                      <a:pt x="188362" y="57995"/>
                      <a:pt x="204282" y="66686"/>
                    </a:cubicBezTo>
                    <a:cubicBezTo>
                      <a:pt x="220203" y="75378"/>
                      <a:pt x="228163" y="87562"/>
                      <a:pt x="228163" y="103319"/>
                    </a:cubicBezTo>
                    <a:cubicBezTo>
                      <a:pt x="228163" y="117696"/>
                      <a:pt x="221421" y="129068"/>
                      <a:pt x="207857" y="137272"/>
                    </a:cubicBezTo>
                    <a:cubicBezTo>
                      <a:pt x="194373" y="145557"/>
                      <a:pt x="175853" y="149699"/>
                      <a:pt x="152298" y="149699"/>
                    </a:cubicBezTo>
                    <a:lnTo>
                      <a:pt x="93490" y="149699"/>
                    </a:lnTo>
                    <a:lnTo>
                      <a:pt x="93490" y="194780"/>
                    </a:lnTo>
                    <a:lnTo>
                      <a:pt x="156928" y="194780"/>
                    </a:lnTo>
                    <a:cubicBezTo>
                      <a:pt x="182596" y="194780"/>
                      <a:pt x="202577" y="199166"/>
                      <a:pt x="216710" y="207857"/>
                    </a:cubicBezTo>
                    <a:cubicBezTo>
                      <a:pt x="230843" y="216548"/>
                      <a:pt x="237991" y="228976"/>
                      <a:pt x="237991" y="245140"/>
                    </a:cubicBezTo>
                    <a:cubicBezTo>
                      <a:pt x="237991" y="262603"/>
                      <a:pt x="229138" y="276412"/>
                      <a:pt x="211511" y="286646"/>
                    </a:cubicBezTo>
                    <a:cubicBezTo>
                      <a:pt x="193886" y="296881"/>
                      <a:pt x="170249" y="301998"/>
                      <a:pt x="140601" y="301998"/>
                    </a:cubicBezTo>
                    <a:cubicBezTo>
                      <a:pt x="118832" y="301998"/>
                      <a:pt x="97227" y="299074"/>
                      <a:pt x="75865" y="293225"/>
                    </a:cubicBezTo>
                    <a:cubicBezTo>
                      <a:pt x="54502" y="287377"/>
                      <a:pt x="35576" y="279173"/>
                      <a:pt x="19007" y="268695"/>
                    </a:cubicBezTo>
                    <a:lnTo>
                      <a:pt x="0" y="316456"/>
                    </a:lnTo>
                    <a:cubicBezTo>
                      <a:pt x="19169" y="329127"/>
                      <a:pt x="41100" y="338793"/>
                      <a:pt x="65711" y="345535"/>
                    </a:cubicBezTo>
                    <a:cubicBezTo>
                      <a:pt x="90323" y="352277"/>
                      <a:pt x="115503" y="355688"/>
                      <a:pt x="141251" y="355688"/>
                    </a:cubicBezTo>
                    <a:cubicBezTo>
                      <a:pt x="171792" y="355688"/>
                      <a:pt x="199328" y="351221"/>
                      <a:pt x="223939" y="342286"/>
                    </a:cubicBezTo>
                    <a:cubicBezTo>
                      <a:pt x="248551" y="333351"/>
                      <a:pt x="267801" y="320923"/>
                      <a:pt x="281772" y="305003"/>
                    </a:cubicBezTo>
                    <a:cubicBezTo>
                      <a:pt x="295743" y="289083"/>
                      <a:pt x="302728" y="270969"/>
                      <a:pt x="302728" y="250419"/>
                    </a:cubicBezTo>
                    <a:cubicBezTo>
                      <a:pt x="302728" y="229869"/>
                      <a:pt x="296393" y="213624"/>
                      <a:pt x="283721" y="200059"/>
                    </a:cubicBezTo>
                    <a:cubicBezTo>
                      <a:pt x="271051" y="186576"/>
                      <a:pt x="253180" y="176748"/>
                      <a:pt x="230112" y="17065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6" name="Полилиния: фигура 45">
                <a:extLst>
                  <a:ext uri="{FF2B5EF4-FFF2-40B4-BE49-F238E27FC236}">
                    <a16:creationId xmlns:a16="http://schemas.microsoft.com/office/drawing/2014/main" id="{8A836E29-6328-4AE3-9782-886BC96F6ED8}"/>
                  </a:ext>
                </a:extLst>
              </p:cNvPr>
              <p:cNvSpPr/>
              <p:nvPr/>
            </p:nvSpPr>
            <p:spPr>
              <a:xfrm>
                <a:off x="10279780" y="3386193"/>
                <a:ext cx="303379" cy="346428"/>
              </a:xfrm>
              <a:custGeom>
                <a:avLst/>
                <a:gdLst>
                  <a:gd name="connsiteX0" fmla="*/ 269020 w 303379"/>
                  <a:gd name="connsiteY0" fmla="*/ 321654 h 346428"/>
                  <a:gd name="connsiteX1" fmla="*/ 303379 w 303379"/>
                  <a:gd name="connsiteY1" fmla="*/ 251069 h 346428"/>
                  <a:gd name="connsiteX2" fmla="*/ 236043 w 303379"/>
                  <a:gd name="connsiteY2" fmla="*/ 166757 h 346428"/>
                  <a:gd name="connsiteX3" fmla="*/ 276900 w 303379"/>
                  <a:gd name="connsiteY3" fmla="*/ 136378 h 346428"/>
                  <a:gd name="connsiteX4" fmla="*/ 291601 w 303379"/>
                  <a:gd name="connsiteY4" fmla="*/ 88942 h 346428"/>
                  <a:gd name="connsiteX5" fmla="*/ 256917 w 303379"/>
                  <a:gd name="connsiteY5" fmla="*/ 23231 h 346428"/>
                  <a:gd name="connsiteX6" fmla="*/ 160828 w 303379"/>
                  <a:gd name="connsiteY6" fmla="*/ 0 h 346428"/>
                  <a:gd name="connsiteX7" fmla="*/ 0 w 303379"/>
                  <a:gd name="connsiteY7" fmla="*/ 0 h 346428"/>
                  <a:gd name="connsiteX8" fmla="*/ 0 w 303379"/>
                  <a:gd name="connsiteY8" fmla="*/ 346428 h 346428"/>
                  <a:gd name="connsiteX9" fmla="*/ 166676 w 303379"/>
                  <a:gd name="connsiteY9" fmla="*/ 346428 h 346428"/>
                  <a:gd name="connsiteX10" fmla="*/ 268939 w 303379"/>
                  <a:gd name="connsiteY10" fmla="*/ 321573 h 346428"/>
                  <a:gd name="connsiteX11" fmla="*/ 61489 w 303379"/>
                  <a:gd name="connsiteY11" fmla="*/ 48329 h 346428"/>
                  <a:gd name="connsiteX12" fmla="*/ 155629 w 303379"/>
                  <a:gd name="connsiteY12" fmla="*/ 48329 h 346428"/>
                  <a:gd name="connsiteX13" fmla="*/ 228814 w 303379"/>
                  <a:gd name="connsiteY13" fmla="*/ 98040 h 346428"/>
                  <a:gd name="connsiteX14" fmla="*/ 210213 w 303379"/>
                  <a:gd name="connsiteY14" fmla="*/ 135972 h 346428"/>
                  <a:gd name="connsiteX15" fmla="*/ 155629 w 303379"/>
                  <a:gd name="connsiteY15" fmla="*/ 149050 h 346428"/>
                  <a:gd name="connsiteX16" fmla="*/ 61489 w 303379"/>
                  <a:gd name="connsiteY16" fmla="*/ 149050 h 346428"/>
                  <a:gd name="connsiteX17" fmla="*/ 61489 w 303379"/>
                  <a:gd name="connsiteY17" fmla="*/ 48329 h 346428"/>
                  <a:gd name="connsiteX18" fmla="*/ 61489 w 303379"/>
                  <a:gd name="connsiteY18" fmla="*/ 298099 h 346428"/>
                  <a:gd name="connsiteX19" fmla="*/ 61489 w 303379"/>
                  <a:gd name="connsiteY19" fmla="*/ 194130 h 346428"/>
                  <a:gd name="connsiteX20" fmla="*/ 166107 w 303379"/>
                  <a:gd name="connsiteY20" fmla="*/ 194130 h 346428"/>
                  <a:gd name="connsiteX21" fmla="*/ 222640 w 303379"/>
                  <a:gd name="connsiteY21" fmla="*/ 207207 h 346428"/>
                  <a:gd name="connsiteX22" fmla="*/ 240591 w 303379"/>
                  <a:gd name="connsiteY22" fmla="*/ 247089 h 346428"/>
                  <a:gd name="connsiteX23" fmla="*/ 220935 w 303379"/>
                  <a:gd name="connsiteY23" fmla="*/ 285671 h 346428"/>
                  <a:gd name="connsiteX24" fmla="*/ 162127 w 303379"/>
                  <a:gd name="connsiteY24" fmla="*/ 298099 h 346428"/>
                  <a:gd name="connsiteX25" fmla="*/ 61489 w 303379"/>
                  <a:gd name="connsiteY25" fmla="*/ 29809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03379" h="346428">
                    <a:moveTo>
                      <a:pt x="269020" y="321654"/>
                    </a:moveTo>
                    <a:cubicBezTo>
                      <a:pt x="291926" y="305084"/>
                      <a:pt x="303379" y="281529"/>
                      <a:pt x="303379" y="251069"/>
                    </a:cubicBezTo>
                    <a:cubicBezTo>
                      <a:pt x="303379" y="206151"/>
                      <a:pt x="280880" y="178047"/>
                      <a:pt x="236043" y="166757"/>
                    </a:cubicBezTo>
                    <a:cubicBezTo>
                      <a:pt x="253425" y="159771"/>
                      <a:pt x="267071" y="149699"/>
                      <a:pt x="276900" y="136378"/>
                    </a:cubicBezTo>
                    <a:cubicBezTo>
                      <a:pt x="286646" y="123057"/>
                      <a:pt x="291601" y="107299"/>
                      <a:pt x="291601" y="88942"/>
                    </a:cubicBezTo>
                    <a:cubicBezTo>
                      <a:pt x="291601" y="60595"/>
                      <a:pt x="280068" y="38745"/>
                      <a:pt x="256917" y="23231"/>
                    </a:cubicBezTo>
                    <a:cubicBezTo>
                      <a:pt x="233850" y="7798"/>
                      <a:pt x="201766" y="0"/>
                      <a:pt x="160828" y="0"/>
                    </a:cubicBezTo>
                    <a:lnTo>
                      <a:pt x="0" y="0"/>
                    </a:lnTo>
                    <a:lnTo>
                      <a:pt x="0" y="346428"/>
                    </a:lnTo>
                    <a:lnTo>
                      <a:pt x="166676" y="346428"/>
                    </a:lnTo>
                    <a:cubicBezTo>
                      <a:pt x="212000" y="346428"/>
                      <a:pt x="246115" y="338143"/>
                      <a:pt x="268939" y="321573"/>
                    </a:cubicBezTo>
                    <a:close/>
                    <a:moveTo>
                      <a:pt x="61489" y="48329"/>
                    </a:moveTo>
                    <a:lnTo>
                      <a:pt x="155629" y="48329"/>
                    </a:lnTo>
                    <a:cubicBezTo>
                      <a:pt x="204446" y="48329"/>
                      <a:pt x="228814" y="64900"/>
                      <a:pt x="228814" y="98040"/>
                    </a:cubicBezTo>
                    <a:cubicBezTo>
                      <a:pt x="228814" y="114610"/>
                      <a:pt x="222559" y="127200"/>
                      <a:pt x="210213" y="135972"/>
                    </a:cubicBezTo>
                    <a:cubicBezTo>
                      <a:pt x="197786" y="144663"/>
                      <a:pt x="179590" y="149050"/>
                      <a:pt x="155629" y="149050"/>
                    </a:cubicBezTo>
                    <a:lnTo>
                      <a:pt x="61489" y="149050"/>
                    </a:lnTo>
                    <a:lnTo>
                      <a:pt x="61489" y="48329"/>
                    </a:lnTo>
                    <a:close/>
                    <a:moveTo>
                      <a:pt x="61489" y="298099"/>
                    </a:moveTo>
                    <a:lnTo>
                      <a:pt x="61489" y="194130"/>
                    </a:lnTo>
                    <a:lnTo>
                      <a:pt x="166107" y="194130"/>
                    </a:lnTo>
                    <a:cubicBezTo>
                      <a:pt x="191774" y="194130"/>
                      <a:pt x="210619" y="198516"/>
                      <a:pt x="222640" y="207207"/>
                    </a:cubicBezTo>
                    <a:cubicBezTo>
                      <a:pt x="234662" y="215898"/>
                      <a:pt x="240591" y="229219"/>
                      <a:pt x="240591" y="247089"/>
                    </a:cubicBezTo>
                    <a:cubicBezTo>
                      <a:pt x="240591" y="264959"/>
                      <a:pt x="234012" y="277386"/>
                      <a:pt x="220935" y="285671"/>
                    </a:cubicBezTo>
                    <a:cubicBezTo>
                      <a:pt x="207858" y="293956"/>
                      <a:pt x="188282" y="298099"/>
                      <a:pt x="162127" y="298099"/>
                    </a:cubicBezTo>
                    <a:lnTo>
                      <a:pt x="61489" y="29809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7" name="Полилиния: фигура 46">
                <a:extLst>
                  <a:ext uri="{FF2B5EF4-FFF2-40B4-BE49-F238E27FC236}">
                    <a16:creationId xmlns:a16="http://schemas.microsoft.com/office/drawing/2014/main" id="{B89DD4F4-CB01-415B-9927-75F79B725A1A}"/>
                  </a:ext>
                </a:extLst>
              </p:cNvPr>
              <p:cNvSpPr/>
              <p:nvPr/>
            </p:nvSpPr>
            <p:spPr>
              <a:xfrm>
                <a:off x="10681199" y="3386193"/>
                <a:ext cx="332051" cy="346428"/>
              </a:xfrm>
              <a:custGeom>
                <a:avLst/>
                <a:gdLst>
                  <a:gd name="connsiteX0" fmla="*/ 62787 w 332051"/>
                  <a:gd name="connsiteY0" fmla="*/ 252369 h 346428"/>
                  <a:gd name="connsiteX1" fmla="*/ 62787 w 332051"/>
                  <a:gd name="connsiteY1" fmla="*/ 0 h 346428"/>
                  <a:gd name="connsiteX2" fmla="*/ 0 w 332051"/>
                  <a:gd name="connsiteY2" fmla="*/ 0 h 346428"/>
                  <a:gd name="connsiteX3" fmla="*/ 0 w 332051"/>
                  <a:gd name="connsiteY3" fmla="*/ 346428 h 346428"/>
                  <a:gd name="connsiteX4" fmla="*/ 57508 w 332051"/>
                  <a:gd name="connsiteY4" fmla="*/ 346428 h 346428"/>
                  <a:gd name="connsiteX5" fmla="*/ 269345 w 332051"/>
                  <a:gd name="connsiteY5" fmla="*/ 94141 h 346428"/>
                  <a:gd name="connsiteX6" fmla="*/ 269345 w 332051"/>
                  <a:gd name="connsiteY6" fmla="*/ 346428 h 346428"/>
                  <a:gd name="connsiteX7" fmla="*/ 332051 w 332051"/>
                  <a:gd name="connsiteY7" fmla="*/ 346428 h 346428"/>
                  <a:gd name="connsiteX8" fmla="*/ 332051 w 332051"/>
                  <a:gd name="connsiteY8" fmla="*/ 0 h 346428"/>
                  <a:gd name="connsiteX9" fmla="*/ 275193 w 332051"/>
                  <a:gd name="connsiteY9" fmla="*/ 0 h 346428"/>
                  <a:gd name="connsiteX10" fmla="*/ 62787 w 332051"/>
                  <a:gd name="connsiteY10" fmla="*/ 25236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051" h="346428">
                    <a:moveTo>
                      <a:pt x="62787" y="252369"/>
                    </a:moveTo>
                    <a:lnTo>
                      <a:pt x="6278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345" y="94141"/>
                    </a:lnTo>
                    <a:lnTo>
                      <a:pt x="269345" y="346428"/>
                    </a:lnTo>
                    <a:lnTo>
                      <a:pt x="332051" y="346428"/>
                    </a:lnTo>
                    <a:lnTo>
                      <a:pt x="332051" y="0"/>
                    </a:lnTo>
                    <a:lnTo>
                      <a:pt x="275193" y="0"/>
                    </a:lnTo>
                    <a:lnTo>
                      <a:pt x="62787" y="25236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8" name="Полилиния: фигура 47">
                <a:extLst>
                  <a:ext uri="{FF2B5EF4-FFF2-40B4-BE49-F238E27FC236}">
                    <a16:creationId xmlns:a16="http://schemas.microsoft.com/office/drawing/2014/main" id="{472B21FB-16C0-4C45-8111-C9AE98DE670F}"/>
                  </a:ext>
                </a:extLst>
              </p:cNvPr>
              <p:cNvSpPr/>
              <p:nvPr/>
            </p:nvSpPr>
            <p:spPr>
              <a:xfrm>
                <a:off x="11076687" y="3386193"/>
                <a:ext cx="316375" cy="346428"/>
              </a:xfrm>
              <a:custGeom>
                <a:avLst/>
                <a:gdLst>
                  <a:gd name="connsiteX0" fmla="*/ 126794 w 316375"/>
                  <a:gd name="connsiteY0" fmla="*/ 346428 h 346428"/>
                  <a:gd name="connsiteX1" fmla="*/ 189582 w 316375"/>
                  <a:gd name="connsiteY1" fmla="*/ 346428 h 346428"/>
                  <a:gd name="connsiteX2" fmla="*/ 189582 w 316375"/>
                  <a:gd name="connsiteY2" fmla="*/ 54909 h 346428"/>
                  <a:gd name="connsiteX3" fmla="*/ 316375 w 316375"/>
                  <a:gd name="connsiteY3" fmla="*/ 54909 h 346428"/>
                  <a:gd name="connsiteX4" fmla="*/ 316375 w 316375"/>
                  <a:gd name="connsiteY4" fmla="*/ 0 h 346428"/>
                  <a:gd name="connsiteX5" fmla="*/ 0 w 316375"/>
                  <a:gd name="connsiteY5" fmla="*/ 0 h 346428"/>
                  <a:gd name="connsiteX6" fmla="*/ 0 w 316375"/>
                  <a:gd name="connsiteY6" fmla="*/ 54909 h 346428"/>
                  <a:gd name="connsiteX7" fmla="*/ 126794 w 316375"/>
                  <a:gd name="connsiteY7" fmla="*/ 54909 h 346428"/>
                  <a:gd name="connsiteX8" fmla="*/ 126794 w 316375"/>
                  <a:gd name="connsiteY8" fmla="*/ 34642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375" h="346428">
                    <a:moveTo>
                      <a:pt x="126794" y="346428"/>
                    </a:moveTo>
                    <a:lnTo>
                      <a:pt x="189582" y="346428"/>
                    </a:lnTo>
                    <a:lnTo>
                      <a:pt x="189582" y="54909"/>
                    </a:lnTo>
                    <a:lnTo>
                      <a:pt x="316375" y="54909"/>
                    </a:lnTo>
                    <a:lnTo>
                      <a:pt x="316375" y="0"/>
                    </a:lnTo>
                    <a:lnTo>
                      <a:pt x="0" y="0"/>
                    </a:lnTo>
                    <a:lnTo>
                      <a:pt x="0" y="54909"/>
                    </a:lnTo>
                    <a:lnTo>
                      <a:pt x="126794" y="54909"/>
                    </a:lnTo>
                    <a:lnTo>
                      <a:pt x="126794" y="34642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49" name="Полилиния: фигура 48">
                <a:extLst>
                  <a:ext uri="{FF2B5EF4-FFF2-40B4-BE49-F238E27FC236}">
                    <a16:creationId xmlns:a16="http://schemas.microsoft.com/office/drawing/2014/main" id="{44613AED-86D6-4E24-86F7-952ACCA7CBC6}"/>
                  </a:ext>
                </a:extLst>
              </p:cNvPr>
              <p:cNvSpPr/>
              <p:nvPr/>
            </p:nvSpPr>
            <p:spPr>
              <a:xfrm>
                <a:off x="11457149" y="3386193"/>
                <a:ext cx="332051" cy="346428"/>
              </a:xfrm>
              <a:custGeom>
                <a:avLst/>
                <a:gdLst>
                  <a:gd name="connsiteX0" fmla="*/ 62706 w 332051"/>
                  <a:gd name="connsiteY0" fmla="*/ 252369 h 346428"/>
                  <a:gd name="connsiteX1" fmla="*/ 62706 w 332051"/>
                  <a:gd name="connsiteY1" fmla="*/ 0 h 346428"/>
                  <a:gd name="connsiteX2" fmla="*/ 0 w 332051"/>
                  <a:gd name="connsiteY2" fmla="*/ 0 h 346428"/>
                  <a:gd name="connsiteX3" fmla="*/ 0 w 332051"/>
                  <a:gd name="connsiteY3" fmla="*/ 346428 h 346428"/>
                  <a:gd name="connsiteX4" fmla="*/ 57508 w 332051"/>
                  <a:gd name="connsiteY4" fmla="*/ 346428 h 346428"/>
                  <a:gd name="connsiteX5" fmla="*/ 269264 w 332051"/>
                  <a:gd name="connsiteY5" fmla="*/ 94141 h 346428"/>
                  <a:gd name="connsiteX6" fmla="*/ 269264 w 332051"/>
                  <a:gd name="connsiteY6" fmla="*/ 346428 h 346428"/>
                  <a:gd name="connsiteX7" fmla="*/ 332051 w 332051"/>
                  <a:gd name="connsiteY7" fmla="*/ 346428 h 346428"/>
                  <a:gd name="connsiteX8" fmla="*/ 332051 w 332051"/>
                  <a:gd name="connsiteY8" fmla="*/ 0 h 346428"/>
                  <a:gd name="connsiteX9" fmla="*/ 275193 w 332051"/>
                  <a:gd name="connsiteY9" fmla="*/ 0 h 346428"/>
                  <a:gd name="connsiteX10" fmla="*/ 62706 w 332051"/>
                  <a:gd name="connsiteY10" fmla="*/ 252369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051" h="346428">
                    <a:moveTo>
                      <a:pt x="62706" y="252369"/>
                    </a:moveTo>
                    <a:lnTo>
                      <a:pt x="62706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264" y="94141"/>
                    </a:lnTo>
                    <a:lnTo>
                      <a:pt x="269264" y="346428"/>
                    </a:lnTo>
                    <a:lnTo>
                      <a:pt x="332051" y="346428"/>
                    </a:lnTo>
                    <a:lnTo>
                      <a:pt x="332051" y="0"/>
                    </a:lnTo>
                    <a:lnTo>
                      <a:pt x="275193" y="0"/>
                    </a:lnTo>
                    <a:lnTo>
                      <a:pt x="62706" y="252369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0" name="Полилиния: фигура 49">
                <a:extLst>
                  <a:ext uri="{FF2B5EF4-FFF2-40B4-BE49-F238E27FC236}">
                    <a16:creationId xmlns:a16="http://schemas.microsoft.com/office/drawing/2014/main" id="{6222E261-6113-4372-97AE-ABFD18106FD0}"/>
                  </a:ext>
                </a:extLst>
              </p:cNvPr>
              <p:cNvSpPr/>
              <p:nvPr/>
            </p:nvSpPr>
            <p:spPr>
              <a:xfrm>
                <a:off x="11881311" y="3386193"/>
                <a:ext cx="307277" cy="346509"/>
              </a:xfrm>
              <a:custGeom>
                <a:avLst/>
                <a:gdLst>
                  <a:gd name="connsiteX0" fmla="*/ 155629 w 307277"/>
                  <a:gd name="connsiteY0" fmla="*/ 0 h 346509"/>
                  <a:gd name="connsiteX1" fmla="*/ 43862 w 307277"/>
                  <a:gd name="connsiteY1" fmla="*/ 31028 h 346509"/>
                  <a:gd name="connsiteX2" fmla="*/ 3331 w 307277"/>
                  <a:gd name="connsiteY2" fmla="*/ 121595 h 346509"/>
                  <a:gd name="connsiteX3" fmla="*/ 24205 w 307277"/>
                  <a:gd name="connsiteY3" fmla="*/ 189256 h 346509"/>
                  <a:gd name="connsiteX4" fmla="*/ 84312 w 307277"/>
                  <a:gd name="connsiteY4" fmla="*/ 228164 h 346509"/>
                  <a:gd name="connsiteX5" fmla="*/ 0 w 307277"/>
                  <a:gd name="connsiteY5" fmla="*/ 346510 h 346509"/>
                  <a:gd name="connsiteX6" fmla="*/ 67337 w 307277"/>
                  <a:gd name="connsiteY6" fmla="*/ 346510 h 346509"/>
                  <a:gd name="connsiteX7" fmla="*/ 143201 w 307277"/>
                  <a:gd name="connsiteY7" fmla="*/ 236692 h 346509"/>
                  <a:gd name="connsiteX8" fmla="*/ 251069 w 307277"/>
                  <a:gd name="connsiteY8" fmla="*/ 236692 h 346509"/>
                  <a:gd name="connsiteX9" fmla="*/ 251069 w 307277"/>
                  <a:gd name="connsiteY9" fmla="*/ 346510 h 346509"/>
                  <a:gd name="connsiteX10" fmla="*/ 307277 w 307277"/>
                  <a:gd name="connsiteY10" fmla="*/ 346510 h 346509"/>
                  <a:gd name="connsiteX11" fmla="*/ 307277 w 307277"/>
                  <a:gd name="connsiteY11" fmla="*/ 81 h 346509"/>
                  <a:gd name="connsiteX12" fmla="*/ 155629 w 307277"/>
                  <a:gd name="connsiteY12" fmla="*/ 81 h 346509"/>
                  <a:gd name="connsiteX13" fmla="*/ 251151 w 307277"/>
                  <a:gd name="connsiteY13" fmla="*/ 191531 h 346509"/>
                  <a:gd name="connsiteX14" fmla="*/ 155060 w 307277"/>
                  <a:gd name="connsiteY14" fmla="*/ 191531 h 346509"/>
                  <a:gd name="connsiteX15" fmla="*/ 89348 w 307277"/>
                  <a:gd name="connsiteY15" fmla="*/ 174879 h 346509"/>
                  <a:gd name="connsiteX16" fmla="*/ 67499 w 307277"/>
                  <a:gd name="connsiteY16" fmla="*/ 123545 h 346509"/>
                  <a:gd name="connsiteX17" fmla="*/ 157660 w 307277"/>
                  <a:gd name="connsiteY17" fmla="*/ 54909 h 346509"/>
                  <a:gd name="connsiteX18" fmla="*/ 251151 w 307277"/>
                  <a:gd name="connsiteY18" fmla="*/ 54909 h 346509"/>
                  <a:gd name="connsiteX19" fmla="*/ 251151 w 307277"/>
                  <a:gd name="connsiteY19" fmla="*/ 191531 h 34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07277" h="346509">
                    <a:moveTo>
                      <a:pt x="155629" y="0"/>
                    </a:moveTo>
                    <a:cubicBezTo>
                      <a:pt x="108112" y="0"/>
                      <a:pt x="70910" y="10397"/>
                      <a:pt x="43862" y="31028"/>
                    </a:cubicBezTo>
                    <a:cubicBezTo>
                      <a:pt x="16813" y="51741"/>
                      <a:pt x="3331" y="81957"/>
                      <a:pt x="3331" y="121595"/>
                    </a:cubicBezTo>
                    <a:cubicBezTo>
                      <a:pt x="3331" y="148643"/>
                      <a:pt x="10316" y="171143"/>
                      <a:pt x="24205" y="189256"/>
                    </a:cubicBezTo>
                    <a:cubicBezTo>
                      <a:pt x="38176" y="207370"/>
                      <a:pt x="58239" y="220366"/>
                      <a:pt x="84312" y="228164"/>
                    </a:cubicBezTo>
                    <a:lnTo>
                      <a:pt x="0" y="346510"/>
                    </a:lnTo>
                    <a:lnTo>
                      <a:pt x="67337" y="346510"/>
                    </a:lnTo>
                    <a:lnTo>
                      <a:pt x="143201" y="236692"/>
                    </a:lnTo>
                    <a:lnTo>
                      <a:pt x="251069" y="236692"/>
                    </a:lnTo>
                    <a:lnTo>
                      <a:pt x="251069" y="346510"/>
                    </a:lnTo>
                    <a:lnTo>
                      <a:pt x="307277" y="346510"/>
                    </a:lnTo>
                    <a:lnTo>
                      <a:pt x="307277" y="81"/>
                    </a:lnTo>
                    <a:lnTo>
                      <a:pt x="155629" y="81"/>
                    </a:lnTo>
                    <a:close/>
                    <a:moveTo>
                      <a:pt x="251151" y="191531"/>
                    </a:moveTo>
                    <a:lnTo>
                      <a:pt x="155060" y="191531"/>
                    </a:lnTo>
                    <a:cubicBezTo>
                      <a:pt x="125900" y="191531"/>
                      <a:pt x="103969" y="186007"/>
                      <a:pt x="89348" y="174879"/>
                    </a:cubicBezTo>
                    <a:cubicBezTo>
                      <a:pt x="74727" y="163751"/>
                      <a:pt x="67499" y="146694"/>
                      <a:pt x="67499" y="123545"/>
                    </a:cubicBezTo>
                    <a:cubicBezTo>
                      <a:pt x="67499" y="77814"/>
                      <a:pt x="97552" y="54909"/>
                      <a:pt x="157660" y="54909"/>
                    </a:cubicBezTo>
                    <a:lnTo>
                      <a:pt x="251151" y="54909"/>
                    </a:lnTo>
                    <a:lnTo>
                      <a:pt x="251151" y="191531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1" name="Полилиния: фигура 50">
                <a:extLst>
                  <a:ext uri="{FF2B5EF4-FFF2-40B4-BE49-F238E27FC236}">
                    <a16:creationId xmlns:a16="http://schemas.microsoft.com/office/drawing/2014/main" id="{8F435750-B70B-4151-BD86-14BE2B6CE7ED}"/>
                  </a:ext>
                </a:extLst>
              </p:cNvPr>
              <p:cNvSpPr/>
              <p:nvPr/>
            </p:nvSpPr>
            <p:spPr>
              <a:xfrm>
                <a:off x="3216462" y="4059556"/>
                <a:ext cx="369333" cy="457626"/>
              </a:xfrm>
              <a:custGeom>
                <a:avLst/>
                <a:gdLst>
                  <a:gd name="connsiteX0" fmla="*/ 318324 w 369333"/>
                  <a:gd name="connsiteY0" fmla="*/ 42481 h 457626"/>
                  <a:gd name="connsiteX1" fmla="*/ 178453 w 369333"/>
                  <a:gd name="connsiteY1" fmla="*/ 0 h 457626"/>
                  <a:gd name="connsiteX2" fmla="*/ 0 w 369333"/>
                  <a:gd name="connsiteY2" fmla="*/ 0 h 457626"/>
                  <a:gd name="connsiteX3" fmla="*/ 0 w 369333"/>
                  <a:gd name="connsiteY3" fmla="*/ 457626 h 457626"/>
                  <a:gd name="connsiteX4" fmla="*/ 65387 w 369333"/>
                  <a:gd name="connsiteY4" fmla="*/ 457626 h 457626"/>
                  <a:gd name="connsiteX5" fmla="*/ 65387 w 369333"/>
                  <a:gd name="connsiteY5" fmla="*/ 319055 h 457626"/>
                  <a:gd name="connsiteX6" fmla="*/ 178453 w 369333"/>
                  <a:gd name="connsiteY6" fmla="*/ 319055 h 457626"/>
                  <a:gd name="connsiteX7" fmla="*/ 318324 w 369333"/>
                  <a:gd name="connsiteY7" fmla="*/ 276574 h 457626"/>
                  <a:gd name="connsiteX8" fmla="*/ 369334 w 369333"/>
                  <a:gd name="connsiteY8" fmla="*/ 159527 h 457626"/>
                  <a:gd name="connsiteX9" fmla="*/ 318324 w 369333"/>
                  <a:gd name="connsiteY9" fmla="*/ 42562 h 457626"/>
                  <a:gd name="connsiteX10" fmla="*/ 271295 w 369333"/>
                  <a:gd name="connsiteY10" fmla="*/ 235636 h 457626"/>
                  <a:gd name="connsiteX11" fmla="*/ 176504 w 369333"/>
                  <a:gd name="connsiteY11" fmla="*/ 262116 h 457626"/>
                  <a:gd name="connsiteX12" fmla="*/ 65387 w 369333"/>
                  <a:gd name="connsiteY12" fmla="*/ 262116 h 457626"/>
                  <a:gd name="connsiteX13" fmla="*/ 65387 w 369333"/>
                  <a:gd name="connsiteY13" fmla="*/ 56858 h 457626"/>
                  <a:gd name="connsiteX14" fmla="*/ 176504 w 369333"/>
                  <a:gd name="connsiteY14" fmla="*/ 56858 h 457626"/>
                  <a:gd name="connsiteX15" fmla="*/ 271295 w 369333"/>
                  <a:gd name="connsiteY15" fmla="*/ 83338 h 457626"/>
                  <a:gd name="connsiteX16" fmla="*/ 303947 w 369333"/>
                  <a:gd name="connsiteY16" fmla="*/ 159446 h 457626"/>
                  <a:gd name="connsiteX17" fmla="*/ 271295 w 369333"/>
                  <a:gd name="connsiteY17" fmla="*/ 235636 h 45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9333" h="457626">
                    <a:moveTo>
                      <a:pt x="318324" y="42481"/>
                    </a:moveTo>
                    <a:cubicBezTo>
                      <a:pt x="284372" y="14133"/>
                      <a:pt x="237667" y="0"/>
                      <a:pt x="178453" y="0"/>
                    </a:cubicBezTo>
                    <a:lnTo>
                      <a:pt x="0" y="0"/>
                    </a:lnTo>
                    <a:lnTo>
                      <a:pt x="0" y="457626"/>
                    </a:lnTo>
                    <a:lnTo>
                      <a:pt x="65387" y="457626"/>
                    </a:lnTo>
                    <a:lnTo>
                      <a:pt x="65387" y="319055"/>
                    </a:lnTo>
                    <a:lnTo>
                      <a:pt x="178453" y="319055"/>
                    </a:lnTo>
                    <a:cubicBezTo>
                      <a:pt x="237748" y="319055"/>
                      <a:pt x="284372" y="304922"/>
                      <a:pt x="318324" y="276574"/>
                    </a:cubicBezTo>
                    <a:cubicBezTo>
                      <a:pt x="352276" y="248226"/>
                      <a:pt x="369334" y="209238"/>
                      <a:pt x="369334" y="159527"/>
                    </a:cubicBezTo>
                    <a:cubicBezTo>
                      <a:pt x="369334" y="109817"/>
                      <a:pt x="352358" y="70829"/>
                      <a:pt x="318324" y="42562"/>
                    </a:cubicBezTo>
                    <a:close/>
                    <a:moveTo>
                      <a:pt x="271295" y="235636"/>
                    </a:moveTo>
                    <a:cubicBezTo>
                      <a:pt x="249526" y="253262"/>
                      <a:pt x="217929" y="262116"/>
                      <a:pt x="176504" y="262116"/>
                    </a:cubicBezTo>
                    <a:lnTo>
                      <a:pt x="65387" y="262116"/>
                    </a:lnTo>
                    <a:lnTo>
                      <a:pt x="65387" y="56858"/>
                    </a:lnTo>
                    <a:lnTo>
                      <a:pt x="176504" y="56858"/>
                    </a:lnTo>
                    <a:cubicBezTo>
                      <a:pt x="217929" y="56858"/>
                      <a:pt x="249526" y="65712"/>
                      <a:pt x="271295" y="83338"/>
                    </a:cubicBezTo>
                    <a:cubicBezTo>
                      <a:pt x="293063" y="100964"/>
                      <a:pt x="303947" y="126387"/>
                      <a:pt x="303947" y="159446"/>
                    </a:cubicBezTo>
                    <a:cubicBezTo>
                      <a:pt x="303947" y="192505"/>
                      <a:pt x="293063" y="218010"/>
                      <a:pt x="271295" y="2356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2" name="Полилиния: фигура 51">
                <a:extLst>
                  <a:ext uri="{FF2B5EF4-FFF2-40B4-BE49-F238E27FC236}">
                    <a16:creationId xmlns:a16="http://schemas.microsoft.com/office/drawing/2014/main" id="{46744DD3-C144-4548-884C-30D71C0AB76C}"/>
                  </a:ext>
                </a:extLst>
              </p:cNvPr>
              <p:cNvSpPr/>
              <p:nvPr/>
            </p:nvSpPr>
            <p:spPr>
              <a:xfrm>
                <a:off x="3632826" y="4167343"/>
                <a:ext cx="360317" cy="353819"/>
              </a:xfrm>
              <a:custGeom>
                <a:avLst/>
                <a:gdLst>
                  <a:gd name="connsiteX0" fmla="*/ 273000 w 360317"/>
                  <a:gd name="connsiteY0" fmla="*/ 22581 h 353819"/>
                  <a:gd name="connsiteX1" fmla="*/ 180484 w 360317"/>
                  <a:gd name="connsiteY1" fmla="*/ 0 h 353819"/>
                  <a:gd name="connsiteX2" fmla="*/ 87643 w 360317"/>
                  <a:gd name="connsiteY2" fmla="*/ 22581 h 353819"/>
                  <a:gd name="connsiteX3" fmla="*/ 23230 w 360317"/>
                  <a:gd name="connsiteY3" fmla="*/ 85368 h 353819"/>
                  <a:gd name="connsiteX4" fmla="*/ 0 w 360317"/>
                  <a:gd name="connsiteY4" fmla="*/ 176585 h 353819"/>
                  <a:gd name="connsiteX5" fmla="*/ 23230 w 360317"/>
                  <a:gd name="connsiteY5" fmla="*/ 267802 h 353819"/>
                  <a:gd name="connsiteX6" fmla="*/ 87643 w 360317"/>
                  <a:gd name="connsiteY6" fmla="*/ 330914 h 353819"/>
                  <a:gd name="connsiteX7" fmla="*/ 180484 w 360317"/>
                  <a:gd name="connsiteY7" fmla="*/ 353820 h 353819"/>
                  <a:gd name="connsiteX8" fmla="*/ 273000 w 360317"/>
                  <a:gd name="connsiteY8" fmla="*/ 330914 h 353819"/>
                  <a:gd name="connsiteX9" fmla="*/ 337087 w 360317"/>
                  <a:gd name="connsiteY9" fmla="*/ 267802 h 353819"/>
                  <a:gd name="connsiteX10" fmla="*/ 360318 w 360317"/>
                  <a:gd name="connsiteY10" fmla="*/ 176585 h 353819"/>
                  <a:gd name="connsiteX11" fmla="*/ 337087 w 360317"/>
                  <a:gd name="connsiteY11" fmla="*/ 85368 h 353819"/>
                  <a:gd name="connsiteX12" fmla="*/ 273000 w 360317"/>
                  <a:gd name="connsiteY12" fmla="*/ 22581 h 353819"/>
                  <a:gd name="connsiteX13" fmla="*/ 281773 w 360317"/>
                  <a:gd name="connsiteY13" fmla="*/ 240266 h 353819"/>
                  <a:gd name="connsiteX14" fmla="*/ 240266 w 360317"/>
                  <a:gd name="connsiteY14" fmla="*/ 283397 h 353819"/>
                  <a:gd name="connsiteX15" fmla="*/ 180403 w 360317"/>
                  <a:gd name="connsiteY15" fmla="*/ 298749 h 353819"/>
                  <a:gd name="connsiteX16" fmla="*/ 120620 w 360317"/>
                  <a:gd name="connsiteY16" fmla="*/ 283397 h 353819"/>
                  <a:gd name="connsiteX17" fmla="*/ 78789 w 360317"/>
                  <a:gd name="connsiteY17" fmla="*/ 240266 h 353819"/>
                  <a:gd name="connsiteX18" fmla="*/ 63437 w 360317"/>
                  <a:gd name="connsiteY18" fmla="*/ 176504 h 353819"/>
                  <a:gd name="connsiteX19" fmla="*/ 78789 w 360317"/>
                  <a:gd name="connsiteY19" fmla="*/ 112742 h 353819"/>
                  <a:gd name="connsiteX20" fmla="*/ 120620 w 360317"/>
                  <a:gd name="connsiteY20" fmla="*/ 69936 h 353819"/>
                  <a:gd name="connsiteX21" fmla="*/ 180403 w 360317"/>
                  <a:gd name="connsiteY21" fmla="*/ 54909 h 353819"/>
                  <a:gd name="connsiteX22" fmla="*/ 240266 w 360317"/>
                  <a:gd name="connsiteY22" fmla="*/ 69936 h 353819"/>
                  <a:gd name="connsiteX23" fmla="*/ 281773 w 360317"/>
                  <a:gd name="connsiteY23" fmla="*/ 112742 h 353819"/>
                  <a:gd name="connsiteX24" fmla="*/ 296799 w 360317"/>
                  <a:gd name="connsiteY24" fmla="*/ 176504 h 353819"/>
                  <a:gd name="connsiteX25" fmla="*/ 281773 w 360317"/>
                  <a:gd name="connsiteY25" fmla="*/ 240266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273000" y="22581"/>
                    </a:moveTo>
                    <a:cubicBezTo>
                      <a:pt x="245708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8" y="37608"/>
                      <a:pt x="38745" y="58564"/>
                      <a:pt x="23230" y="85368"/>
                    </a:cubicBezTo>
                    <a:cubicBezTo>
                      <a:pt x="7717" y="112173"/>
                      <a:pt x="0" y="142552"/>
                      <a:pt x="0" y="176585"/>
                    </a:cubicBezTo>
                    <a:cubicBezTo>
                      <a:pt x="0" y="210619"/>
                      <a:pt x="7717" y="240997"/>
                      <a:pt x="23230" y="267802"/>
                    </a:cubicBezTo>
                    <a:cubicBezTo>
                      <a:pt x="38664" y="294606"/>
                      <a:pt x="60188" y="315644"/>
                      <a:pt x="87643" y="330914"/>
                    </a:cubicBez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ubicBezTo>
                      <a:pt x="300211" y="315644"/>
                      <a:pt x="321573" y="294606"/>
                      <a:pt x="337087" y="267802"/>
                    </a:cubicBezTo>
                    <a:cubicBezTo>
                      <a:pt x="352520" y="240997"/>
                      <a:pt x="360318" y="210619"/>
                      <a:pt x="360318" y="176585"/>
                    </a:cubicBezTo>
                    <a:cubicBezTo>
                      <a:pt x="360318" y="142552"/>
                      <a:pt x="352601" y="112173"/>
                      <a:pt x="337087" y="85368"/>
                    </a:cubicBezTo>
                    <a:cubicBezTo>
                      <a:pt x="321573" y="58564"/>
                      <a:pt x="300292" y="37689"/>
                      <a:pt x="273000" y="22581"/>
                    </a:cubicBezTo>
                    <a:close/>
                    <a:moveTo>
                      <a:pt x="281773" y="240266"/>
                    </a:moveTo>
                    <a:cubicBezTo>
                      <a:pt x="271782" y="258786"/>
                      <a:pt x="257892" y="273163"/>
                      <a:pt x="240266" y="283397"/>
                    </a:cubicBezTo>
                    <a:cubicBezTo>
                      <a:pt x="222640" y="293631"/>
                      <a:pt x="202659" y="298749"/>
                      <a:pt x="180403" y="298749"/>
                    </a:cubicBezTo>
                    <a:cubicBezTo>
                      <a:pt x="158147" y="298749"/>
                      <a:pt x="138246" y="293631"/>
                      <a:pt x="120620" y="283397"/>
                    </a:cubicBezTo>
                    <a:cubicBezTo>
                      <a:pt x="102994" y="273163"/>
                      <a:pt x="89023" y="258786"/>
                      <a:pt x="78789" y="240266"/>
                    </a:cubicBezTo>
                    <a:cubicBezTo>
                      <a:pt x="68555" y="221747"/>
                      <a:pt x="63437" y="200465"/>
                      <a:pt x="63437" y="176504"/>
                    </a:cubicBezTo>
                    <a:cubicBezTo>
                      <a:pt x="63437" y="152542"/>
                      <a:pt x="68555" y="131261"/>
                      <a:pt x="78789" y="112742"/>
                    </a:cubicBezTo>
                    <a:cubicBezTo>
                      <a:pt x="89023" y="94222"/>
                      <a:pt x="102994" y="79926"/>
                      <a:pt x="120620" y="69936"/>
                    </a:cubicBezTo>
                    <a:cubicBezTo>
                      <a:pt x="138246" y="59945"/>
                      <a:pt x="158228" y="54909"/>
                      <a:pt x="180403" y="54909"/>
                    </a:cubicBezTo>
                    <a:cubicBezTo>
                      <a:pt x="202577" y="54909"/>
                      <a:pt x="222559" y="59945"/>
                      <a:pt x="240266" y="69936"/>
                    </a:cubicBezTo>
                    <a:cubicBezTo>
                      <a:pt x="257892" y="79926"/>
                      <a:pt x="271782" y="94222"/>
                      <a:pt x="281773" y="112742"/>
                    </a:cubicBezTo>
                    <a:cubicBezTo>
                      <a:pt x="291844" y="131261"/>
                      <a:pt x="296799" y="152542"/>
                      <a:pt x="296799" y="176504"/>
                    </a:cubicBezTo>
                    <a:cubicBezTo>
                      <a:pt x="296799" y="200465"/>
                      <a:pt x="291763" y="221747"/>
                      <a:pt x="281773" y="2402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3" name="Полилиния: фигура 52">
                <a:extLst>
                  <a:ext uri="{FF2B5EF4-FFF2-40B4-BE49-F238E27FC236}">
                    <a16:creationId xmlns:a16="http://schemas.microsoft.com/office/drawing/2014/main" id="{9AA95E1B-3CB3-45B9-BFAC-11B69E6724F5}"/>
                  </a:ext>
                </a:extLst>
              </p:cNvPr>
              <p:cNvSpPr/>
              <p:nvPr/>
            </p:nvSpPr>
            <p:spPr>
              <a:xfrm>
                <a:off x="4051788" y="4167505"/>
                <a:ext cx="324253" cy="353819"/>
              </a:xfrm>
              <a:custGeom>
                <a:avLst/>
                <a:gdLst>
                  <a:gd name="connsiteX0" fmla="*/ 121352 w 324253"/>
                  <a:gd name="connsiteY0" fmla="*/ 69854 h 353819"/>
                  <a:gd name="connsiteX1" fmla="*/ 182433 w 324253"/>
                  <a:gd name="connsiteY1" fmla="*/ 54827 h 353819"/>
                  <a:gd name="connsiteX2" fmla="*/ 236043 w 324253"/>
                  <a:gd name="connsiteY2" fmla="*/ 67255 h 353819"/>
                  <a:gd name="connsiteX3" fmla="*/ 276574 w 324253"/>
                  <a:gd name="connsiteY3" fmla="*/ 104538 h 353819"/>
                  <a:gd name="connsiteX4" fmla="*/ 324254 w 324253"/>
                  <a:gd name="connsiteY4" fmla="*/ 73834 h 353819"/>
                  <a:gd name="connsiteX5" fmla="*/ 267071 w 324253"/>
                  <a:gd name="connsiteY5" fmla="*/ 18926 h 353819"/>
                  <a:gd name="connsiteX6" fmla="*/ 183083 w 324253"/>
                  <a:gd name="connsiteY6" fmla="*/ 0 h 353819"/>
                  <a:gd name="connsiteX7" fmla="*/ 88617 w 324253"/>
                  <a:gd name="connsiteY7" fmla="*/ 22581 h 353819"/>
                  <a:gd name="connsiteX8" fmla="*/ 23556 w 324253"/>
                  <a:gd name="connsiteY8" fmla="*/ 85368 h 353819"/>
                  <a:gd name="connsiteX9" fmla="*/ 0 w 324253"/>
                  <a:gd name="connsiteY9" fmla="*/ 176585 h 353819"/>
                  <a:gd name="connsiteX10" fmla="*/ 23556 w 324253"/>
                  <a:gd name="connsiteY10" fmla="*/ 267802 h 353819"/>
                  <a:gd name="connsiteX11" fmla="*/ 88617 w 324253"/>
                  <a:gd name="connsiteY11" fmla="*/ 330914 h 353819"/>
                  <a:gd name="connsiteX12" fmla="*/ 183083 w 324253"/>
                  <a:gd name="connsiteY12" fmla="*/ 353820 h 353819"/>
                  <a:gd name="connsiteX13" fmla="*/ 267071 w 324253"/>
                  <a:gd name="connsiteY13" fmla="*/ 334488 h 353819"/>
                  <a:gd name="connsiteX14" fmla="*/ 324254 w 324253"/>
                  <a:gd name="connsiteY14" fmla="*/ 279254 h 353819"/>
                  <a:gd name="connsiteX15" fmla="*/ 276574 w 324253"/>
                  <a:gd name="connsiteY15" fmla="*/ 249201 h 353819"/>
                  <a:gd name="connsiteX16" fmla="*/ 236043 w 324253"/>
                  <a:gd name="connsiteY16" fmla="*/ 286484 h 353819"/>
                  <a:gd name="connsiteX17" fmla="*/ 182433 w 324253"/>
                  <a:gd name="connsiteY17" fmla="*/ 298911 h 353819"/>
                  <a:gd name="connsiteX18" fmla="*/ 121352 w 324253"/>
                  <a:gd name="connsiteY18" fmla="*/ 283884 h 353819"/>
                  <a:gd name="connsiteX19" fmla="*/ 78870 w 324253"/>
                  <a:gd name="connsiteY19" fmla="*/ 241078 h 353819"/>
                  <a:gd name="connsiteX20" fmla="*/ 63519 w 324253"/>
                  <a:gd name="connsiteY20" fmla="*/ 176666 h 353819"/>
                  <a:gd name="connsiteX21" fmla="*/ 78870 w 324253"/>
                  <a:gd name="connsiteY21" fmla="*/ 112904 h 353819"/>
                  <a:gd name="connsiteX22" fmla="*/ 121352 w 324253"/>
                  <a:gd name="connsiteY22" fmla="*/ 70098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819">
                    <a:moveTo>
                      <a:pt x="121352" y="69854"/>
                    </a:moveTo>
                    <a:cubicBezTo>
                      <a:pt x="139384" y="59863"/>
                      <a:pt x="159853" y="54827"/>
                      <a:pt x="182433" y="54827"/>
                    </a:cubicBezTo>
                    <a:cubicBezTo>
                      <a:pt x="202090" y="54827"/>
                      <a:pt x="219879" y="58970"/>
                      <a:pt x="236043" y="67255"/>
                    </a:cubicBezTo>
                    <a:cubicBezTo>
                      <a:pt x="252125" y="75540"/>
                      <a:pt x="265690" y="87968"/>
                      <a:pt x="276574" y="104538"/>
                    </a:cubicBezTo>
                    <a:lnTo>
                      <a:pt x="324254" y="73834"/>
                    </a:lnTo>
                    <a:cubicBezTo>
                      <a:pt x="310770" y="49873"/>
                      <a:pt x="291682" y="31515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6" y="7554"/>
                      <a:pt x="88617" y="22581"/>
                    </a:cubicBezTo>
                    <a:cubicBezTo>
                      <a:pt x="60919" y="37607"/>
                      <a:pt x="39232" y="58564"/>
                      <a:pt x="23556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6" y="267802"/>
                    </a:cubicBezTo>
                    <a:cubicBezTo>
                      <a:pt x="39232" y="294606"/>
                      <a:pt x="60919" y="315644"/>
                      <a:pt x="88617" y="330914"/>
                    </a:cubicBezTo>
                    <a:cubicBezTo>
                      <a:pt x="116316" y="346185"/>
                      <a:pt x="147750" y="353820"/>
                      <a:pt x="183083" y="353820"/>
                    </a:cubicBezTo>
                    <a:cubicBezTo>
                      <a:pt x="214436" y="353820"/>
                      <a:pt x="242459" y="347403"/>
                      <a:pt x="267071" y="334488"/>
                    </a:cubicBezTo>
                    <a:cubicBezTo>
                      <a:pt x="291682" y="321654"/>
                      <a:pt x="310770" y="303216"/>
                      <a:pt x="324254" y="279254"/>
                    </a:cubicBezTo>
                    <a:lnTo>
                      <a:pt x="276574" y="249201"/>
                    </a:lnTo>
                    <a:cubicBezTo>
                      <a:pt x="265690" y="265771"/>
                      <a:pt x="252125" y="278199"/>
                      <a:pt x="236043" y="286484"/>
                    </a:cubicBezTo>
                    <a:cubicBezTo>
                      <a:pt x="219879" y="294768"/>
                      <a:pt x="202009" y="298911"/>
                      <a:pt x="182433" y="298911"/>
                    </a:cubicBezTo>
                    <a:cubicBezTo>
                      <a:pt x="159771" y="298911"/>
                      <a:pt x="139384" y="293956"/>
                      <a:pt x="121352" y="283884"/>
                    </a:cubicBezTo>
                    <a:cubicBezTo>
                      <a:pt x="103238" y="273894"/>
                      <a:pt x="89105" y="259598"/>
                      <a:pt x="78870" y="241078"/>
                    </a:cubicBezTo>
                    <a:cubicBezTo>
                      <a:pt x="68636" y="222559"/>
                      <a:pt x="63519" y="201115"/>
                      <a:pt x="63519" y="176666"/>
                    </a:cubicBezTo>
                    <a:cubicBezTo>
                      <a:pt x="63519" y="152217"/>
                      <a:pt x="68636" y="131423"/>
                      <a:pt x="78870" y="112904"/>
                    </a:cubicBezTo>
                    <a:cubicBezTo>
                      <a:pt x="89105" y="94384"/>
                      <a:pt x="103238" y="80089"/>
                      <a:pt x="121352" y="700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4" name="Полилиния: фигура 53">
                <a:extLst>
                  <a:ext uri="{FF2B5EF4-FFF2-40B4-BE49-F238E27FC236}">
                    <a16:creationId xmlns:a16="http://schemas.microsoft.com/office/drawing/2014/main" id="{DC225AD3-32FC-48A0-B687-302B537767FE}"/>
                  </a:ext>
                </a:extLst>
              </p:cNvPr>
              <p:cNvSpPr/>
              <p:nvPr/>
            </p:nvSpPr>
            <p:spPr>
              <a:xfrm>
                <a:off x="4419904" y="4167505"/>
                <a:ext cx="324253" cy="353819"/>
              </a:xfrm>
              <a:custGeom>
                <a:avLst/>
                <a:gdLst>
                  <a:gd name="connsiteX0" fmla="*/ 121270 w 324253"/>
                  <a:gd name="connsiteY0" fmla="*/ 69854 h 353819"/>
                  <a:gd name="connsiteX1" fmla="*/ 182352 w 324253"/>
                  <a:gd name="connsiteY1" fmla="*/ 54827 h 353819"/>
                  <a:gd name="connsiteX2" fmla="*/ 235961 w 324253"/>
                  <a:gd name="connsiteY2" fmla="*/ 67255 h 353819"/>
                  <a:gd name="connsiteX3" fmla="*/ 276493 w 324253"/>
                  <a:gd name="connsiteY3" fmla="*/ 104538 h 353819"/>
                  <a:gd name="connsiteX4" fmla="*/ 324253 w 324253"/>
                  <a:gd name="connsiteY4" fmla="*/ 73834 h 353819"/>
                  <a:gd name="connsiteX5" fmla="*/ 267071 w 324253"/>
                  <a:gd name="connsiteY5" fmla="*/ 18926 h 353819"/>
                  <a:gd name="connsiteX6" fmla="*/ 183083 w 324253"/>
                  <a:gd name="connsiteY6" fmla="*/ 0 h 353819"/>
                  <a:gd name="connsiteX7" fmla="*/ 88617 w 324253"/>
                  <a:gd name="connsiteY7" fmla="*/ 22581 h 353819"/>
                  <a:gd name="connsiteX8" fmla="*/ 23555 w 324253"/>
                  <a:gd name="connsiteY8" fmla="*/ 85368 h 353819"/>
                  <a:gd name="connsiteX9" fmla="*/ 0 w 324253"/>
                  <a:gd name="connsiteY9" fmla="*/ 176585 h 353819"/>
                  <a:gd name="connsiteX10" fmla="*/ 23555 w 324253"/>
                  <a:gd name="connsiteY10" fmla="*/ 267802 h 353819"/>
                  <a:gd name="connsiteX11" fmla="*/ 88617 w 324253"/>
                  <a:gd name="connsiteY11" fmla="*/ 330914 h 353819"/>
                  <a:gd name="connsiteX12" fmla="*/ 183083 w 324253"/>
                  <a:gd name="connsiteY12" fmla="*/ 353820 h 353819"/>
                  <a:gd name="connsiteX13" fmla="*/ 267071 w 324253"/>
                  <a:gd name="connsiteY13" fmla="*/ 334488 h 353819"/>
                  <a:gd name="connsiteX14" fmla="*/ 324253 w 324253"/>
                  <a:gd name="connsiteY14" fmla="*/ 279254 h 353819"/>
                  <a:gd name="connsiteX15" fmla="*/ 276493 w 324253"/>
                  <a:gd name="connsiteY15" fmla="*/ 249201 h 353819"/>
                  <a:gd name="connsiteX16" fmla="*/ 235961 w 324253"/>
                  <a:gd name="connsiteY16" fmla="*/ 286484 h 353819"/>
                  <a:gd name="connsiteX17" fmla="*/ 182352 w 324253"/>
                  <a:gd name="connsiteY17" fmla="*/ 298911 h 353819"/>
                  <a:gd name="connsiteX18" fmla="*/ 121270 w 324253"/>
                  <a:gd name="connsiteY18" fmla="*/ 283884 h 353819"/>
                  <a:gd name="connsiteX19" fmla="*/ 78789 w 324253"/>
                  <a:gd name="connsiteY19" fmla="*/ 241078 h 353819"/>
                  <a:gd name="connsiteX20" fmla="*/ 63437 w 324253"/>
                  <a:gd name="connsiteY20" fmla="*/ 176666 h 353819"/>
                  <a:gd name="connsiteX21" fmla="*/ 78789 w 324253"/>
                  <a:gd name="connsiteY21" fmla="*/ 112904 h 353819"/>
                  <a:gd name="connsiteX22" fmla="*/ 121270 w 324253"/>
                  <a:gd name="connsiteY22" fmla="*/ 70098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819">
                    <a:moveTo>
                      <a:pt x="121270" y="69854"/>
                    </a:moveTo>
                    <a:cubicBezTo>
                      <a:pt x="139383" y="59863"/>
                      <a:pt x="159690" y="54827"/>
                      <a:pt x="182352" y="54827"/>
                    </a:cubicBezTo>
                    <a:cubicBezTo>
                      <a:pt x="201927" y="54827"/>
                      <a:pt x="219797" y="58970"/>
                      <a:pt x="235961" y="67255"/>
                    </a:cubicBezTo>
                    <a:cubicBezTo>
                      <a:pt x="252125" y="75540"/>
                      <a:pt x="265608" y="87968"/>
                      <a:pt x="276493" y="104538"/>
                    </a:cubicBezTo>
                    <a:lnTo>
                      <a:pt x="324253" y="73834"/>
                    </a:lnTo>
                    <a:cubicBezTo>
                      <a:pt x="310770" y="49873"/>
                      <a:pt x="291682" y="31515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5" y="7554"/>
                      <a:pt x="88617" y="22581"/>
                    </a:cubicBezTo>
                    <a:cubicBezTo>
                      <a:pt x="60919" y="37607"/>
                      <a:pt x="39313" y="58564"/>
                      <a:pt x="23555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5" y="267802"/>
                    </a:cubicBezTo>
                    <a:cubicBezTo>
                      <a:pt x="39232" y="294606"/>
                      <a:pt x="60919" y="315644"/>
                      <a:pt x="88617" y="330914"/>
                    </a:cubicBezTo>
                    <a:cubicBezTo>
                      <a:pt x="116315" y="346185"/>
                      <a:pt x="147831" y="353820"/>
                      <a:pt x="183083" y="353820"/>
                    </a:cubicBezTo>
                    <a:cubicBezTo>
                      <a:pt x="214436" y="353820"/>
                      <a:pt x="242459" y="347403"/>
                      <a:pt x="267071" y="334488"/>
                    </a:cubicBezTo>
                    <a:cubicBezTo>
                      <a:pt x="291682" y="321654"/>
                      <a:pt x="310770" y="303216"/>
                      <a:pt x="324253" y="279254"/>
                    </a:cubicBezTo>
                    <a:lnTo>
                      <a:pt x="276493" y="249201"/>
                    </a:lnTo>
                    <a:cubicBezTo>
                      <a:pt x="265608" y="265771"/>
                      <a:pt x="252125" y="278199"/>
                      <a:pt x="235961" y="286484"/>
                    </a:cubicBezTo>
                    <a:cubicBezTo>
                      <a:pt x="219878" y="294768"/>
                      <a:pt x="201927" y="298911"/>
                      <a:pt x="182352" y="298911"/>
                    </a:cubicBezTo>
                    <a:cubicBezTo>
                      <a:pt x="159690" y="298911"/>
                      <a:pt x="139302" y="293956"/>
                      <a:pt x="121270" y="283884"/>
                    </a:cubicBezTo>
                    <a:cubicBezTo>
                      <a:pt x="103156" y="273894"/>
                      <a:pt x="89023" y="259598"/>
                      <a:pt x="78789" y="241078"/>
                    </a:cubicBezTo>
                    <a:cubicBezTo>
                      <a:pt x="68555" y="222559"/>
                      <a:pt x="63437" y="201115"/>
                      <a:pt x="63437" y="176666"/>
                    </a:cubicBezTo>
                    <a:cubicBezTo>
                      <a:pt x="63437" y="152217"/>
                      <a:pt x="68555" y="131423"/>
                      <a:pt x="78789" y="112904"/>
                    </a:cubicBezTo>
                    <a:cubicBezTo>
                      <a:pt x="89023" y="94384"/>
                      <a:pt x="103156" y="80089"/>
                      <a:pt x="121270" y="700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5" name="Полилиния: фигура 54">
                <a:extLst>
                  <a:ext uri="{FF2B5EF4-FFF2-40B4-BE49-F238E27FC236}">
                    <a16:creationId xmlns:a16="http://schemas.microsoft.com/office/drawing/2014/main" id="{9EFB97FC-2291-47DB-BE34-1F177D5DCFC2}"/>
                  </a:ext>
                </a:extLst>
              </p:cNvPr>
              <p:cNvSpPr/>
              <p:nvPr/>
            </p:nvSpPr>
            <p:spPr>
              <a:xfrm>
                <a:off x="4825221" y="4170673"/>
                <a:ext cx="332132" cy="346428"/>
              </a:xfrm>
              <a:custGeom>
                <a:avLst/>
                <a:gdLst>
                  <a:gd name="connsiteX0" fmla="*/ 62788 w 332132"/>
                  <a:gd name="connsiteY0" fmla="*/ 252288 h 346428"/>
                  <a:gd name="connsiteX1" fmla="*/ 62788 w 332132"/>
                  <a:gd name="connsiteY1" fmla="*/ 0 h 346428"/>
                  <a:gd name="connsiteX2" fmla="*/ 0 w 332132"/>
                  <a:gd name="connsiteY2" fmla="*/ 0 h 346428"/>
                  <a:gd name="connsiteX3" fmla="*/ 0 w 332132"/>
                  <a:gd name="connsiteY3" fmla="*/ 346428 h 346428"/>
                  <a:gd name="connsiteX4" fmla="*/ 57508 w 332132"/>
                  <a:gd name="connsiteY4" fmla="*/ 346428 h 346428"/>
                  <a:gd name="connsiteX5" fmla="*/ 269345 w 332132"/>
                  <a:gd name="connsiteY5" fmla="*/ 94141 h 346428"/>
                  <a:gd name="connsiteX6" fmla="*/ 269345 w 332132"/>
                  <a:gd name="connsiteY6" fmla="*/ 346428 h 346428"/>
                  <a:gd name="connsiteX7" fmla="*/ 332133 w 332132"/>
                  <a:gd name="connsiteY7" fmla="*/ 346428 h 346428"/>
                  <a:gd name="connsiteX8" fmla="*/ 332133 w 332132"/>
                  <a:gd name="connsiteY8" fmla="*/ 0 h 346428"/>
                  <a:gd name="connsiteX9" fmla="*/ 275193 w 332132"/>
                  <a:gd name="connsiteY9" fmla="*/ 0 h 346428"/>
                  <a:gd name="connsiteX10" fmla="*/ 62788 w 332132"/>
                  <a:gd name="connsiteY10" fmla="*/ 25228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2" h="346428">
                    <a:moveTo>
                      <a:pt x="62788" y="252288"/>
                    </a:moveTo>
                    <a:lnTo>
                      <a:pt x="62788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345" y="94141"/>
                    </a:lnTo>
                    <a:lnTo>
                      <a:pt x="269345" y="346428"/>
                    </a:lnTo>
                    <a:lnTo>
                      <a:pt x="332133" y="346428"/>
                    </a:lnTo>
                    <a:lnTo>
                      <a:pt x="332133" y="0"/>
                    </a:lnTo>
                    <a:lnTo>
                      <a:pt x="275193" y="0"/>
                    </a:lnTo>
                    <a:lnTo>
                      <a:pt x="62788" y="25228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6" name="Полилиния: фигура 55">
                <a:extLst>
                  <a:ext uri="{FF2B5EF4-FFF2-40B4-BE49-F238E27FC236}">
                    <a16:creationId xmlns:a16="http://schemas.microsoft.com/office/drawing/2014/main" id="{883AF2F0-9BA1-4B35-8C1E-156F64F5BD1D}"/>
                  </a:ext>
                </a:extLst>
              </p:cNvPr>
              <p:cNvSpPr/>
              <p:nvPr/>
            </p:nvSpPr>
            <p:spPr>
              <a:xfrm>
                <a:off x="5338568" y="4035351"/>
                <a:ext cx="205826" cy="90241"/>
              </a:xfrm>
              <a:custGeom>
                <a:avLst/>
                <a:gdLst>
                  <a:gd name="connsiteX0" fmla="*/ 27292 w 205826"/>
                  <a:gd name="connsiteY0" fmla="*/ 67011 h 90241"/>
                  <a:gd name="connsiteX1" fmla="*/ 102507 w 205826"/>
                  <a:gd name="connsiteY1" fmla="*/ 90242 h 90241"/>
                  <a:gd name="connsiteX2" fmla="*/ 177722 w 205826"/>
                  <a:gd name="connsiteY2" fmla="*/ 67011 h 90241"/>
                  <a:gd name="connsiteX3" fmla="*/ 205827 w 205826"/>
                  <a:gd name="connsiteY3" fmla="*/ 0 h 90241"/>
                  <a:gd name="connsiteX4" fmla="*/ 162046 w 205826"/>
                  <a:gd name="connsiteY4" fmla="*/ 0 h 90241"/>
                  <a:gd name="connsiteX5" fmla="*/ 145069 w 205826"/>
                  <a:gd name="connsiteY5" fmla="*/ 38907 h 90241"/>
                  <a:gd name="connsiteX6" fmla="*/ 101938 w 205826"/>
                  <a:gd name="connsiteY6" fmla="*/ 53609 h 90241"/>
                  <a:gd name="connsiteX7" fmla="*/ 59133 w 205826"/>
                  <a:gd name="connsiteY7" fmla="*/ 38907 h 90241"/>
                  <a:gd name="connsiteX8" fmla="*/ 42481 w 205826"/>
                  <a:gd name="connsiteY8" fmla="*/ 0 h 90241"/>
                  <a:gd name="connsiteX9" fmla="*/ 0 w 205826"/>
                  <a:gd name="connsiteY9" fmla="*/ 0 h 90241"/>
                  <a:gd name="connsiteX10" fmla="*/ 27454 w 205826"/>
                  <a:gd name="connsiteY10" fmla="*/ 67011 h 90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826" h="90241">
                    <a:moveTo>
                      <a:pt x="27292" y="67011"/>
                    </a:moveTo>
                    <a:cubicBezTo>
                      <a:pt x="45162" y="82444"/>
                      <a:pt x="70261" y="90242"/>
                      <a:pt x="102507" y="90242"/>
                    </a:cubicBezTo>
                    <a:cubicBezTo>
                      <a:pt x="134754" y="90242"/>
                      <a:pt x="159365" y="82526"/>
                      <a:pt x="177722" y="67011"/>
                    </a:cubicBezTo>
                    <a:cubicBezTo>
                      <a:pt x="195998" y="51497"/>
                      <a:pt x="205420" y="29241"/>
                      <a:pt x="205827" y="0"/>
                    </a:cubicBezTo>
                    <a:lnTo>
                      <a:pt x="162046" y="0"/>
                    </a:lnTo>
                    <a:cubicBezTo>
                      <a:pt x="161640" y="16083"/>
                      <a:pt x="155954" y="29079"/>
                      <a:pt x="145069" y="38907"/>
                    </a:cubicBezTo>
                    <a:cubicBezTo>
                      <a:pt x="134185" y="48736"/>
                      <a:pt x="119808" y="53609"/>
                      <a:pt x="101938" y="53609"/>
                    </a:cubicBezTo>
                    <a:cubicBezTo>
                      <a:pt x="84069" y="53609"/>
                      <a:pt x="69773" y="48736"/>
                      <a:pt x="59133" y="38907"/>
                    </a:cubicBezTo>
                    <a:cubicBezTo>
                      <a:pt x="48411" y="29160"/>
                      <a:pt x="42887" y="16164"/>
                      <a:pt x="42481" y="0"/>
                    </a:cubicBezTo>
                    <a:lnTo>
                      <a:pt x="0" y="0"/>
                    </a:lnTo>
                    <a:cubicBezTo>
                      <a:pt x="406" y="29160"/>
                      <a:pt x="9585" y="51497"/>
                      <a:pt x="27454" y="670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7" name="Полилиния: фигура 56">
                <a:extLst>
                  <a:ext uri="{FF2B5EF4-FFF2-40B4-BE49-F238E27FC236}">
                    <a16:creationId xmlns:a16="http://schemas.microsoft.com/office/drawing/2014/main" id="{B609159F-8B66-4FB0-A91F-6F8B92EE87DF}"/>
                  </a:ext>
                </a:extLst>
              </p:cNvPr>
              <p:cNvSpPr/>
              <p:nvPr/>
            </p:nvSpPr>
            <p:spPr>
              <a:xfrm>
                <a:off x="5278948" y="4170673"/>
                <a:ext cx="332051" cy="346428"/>
              </a:xfrm>
              <a:custGeom>
                <a:avLst/>
                <a:gdLst>
                  <a:gd name="connsiteX0" fmla="*/ 62707 w 332051"/>
                  <a:gd name="connsiteY0" fmla="*/ 252288 h 346428"/>
                  <a:gd name="connsiteX1" fmla="*/ 62707 w 332051"/>
                  <a:gd name="connsiteY1" fmla="*/ 0 h 346428"/>
                  <a:gd name="connsiteX2" fmla="*/ 0 w 332051"/>
                  <a:gd name="connsiteY2" fmla="*/ 0 h 346428"/>
                  <a:gd name="connsiteX3" fmla="*/ 0 w 332051"/>
                  <a:gd name="connsiteY3" fmla="*/ 346428 h 346428"/>
                  <a:gd name="connsiteX4" fmla="*/ 57508 w 332051"/>
                  <a:gd name="connsiteY4" fmla="*/ 346428 h 346428"/>
                  <a:gd name="connsiteX5" fmla="*/ 269264 w 332051"/>
                  <a:gd name="connsiteY5" fmla="*/ 94141 h 346428"/>
                  <a:gd name="connsiteX6" fmla="*/ 269264 w 332051"/>
                  <a:gd name="connsiteY6" fmla="*/ 346428 h 346428"/>
                  <a:gd name="connsiteX7" fmla="*/ 332051 w 332051"/>
                  <a:gd name="connsiteY7" fmla="*/ 346428 h 346428"/>
                  <a:gd name="connsiteX8" fmla="*/ 332051 w 332051"/>
                  <a:gd name="connsiteY8" fmla="*/ 0 h 346428"/>
                  <a:gd name="connsiteX9" fmla="*/ 275193 w 332051"/>
                  <a:gd name="connsiteY9" fmla="*/ 0 h 346428"/>
                  <a:gd name="connsiteX10" fmla="*/ 62707 w 332051"/>
                  <a:gd name="connsiteY10" fmla="*/ 25228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051" h="346428">
                    <a:moveTo>
                      <a:pt x="62707" y="252288"/>
                    </a:moveTo>
                    <a:lnTo>
                      <a:pt x="6270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264" y="94141"/>
                    </a:lnTo>
                    <a:lnTo>
                      <a:pt x="269264" y="346428"/>
                    </a:lnTo>
                    <a:lnTo>
                      <a:pt x="332051" y="346428"/>
                    </a:lnTo>
                    <a:lnTo>
                      <a:pt x="332051" y="0"/>
                    </a:lnTo>
                    <a:lnTo>
                      <a:pt x="275193" y="0"/>
                    </a:lnTo>
                    <a:lnTo>
                      <a:pt x="62707" y="25228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8" name="Полилиния: фигура 57">
                <a:extLst>
                  <a:ext uri="{FF2B5EF4-FFF2-40B4-BE49-F238E27FC236}">
                    <a16:creationId xmlns:a16="http://schemas.microsoft.com/office/drawing/2014/main" id="{62FCBC10-2A38-476E-8987-EEBE40774DCC}"/>
                  </a:ext>
                </a:extLst>
              </p:cNvPr>
              <p:cNvSpPr/>
              <p:nvPr/>
            </p:nvSpPr>
            <p:spPr>
              <a:xfrm>
                <a:off x="5700430" y="4167505"/>
                <a:ext cx="324253" cy="353819"/>
              </a:xfrm>
              <a:custGeom>
                <a:avLst/>
                <a:gdLst>
                  <a:gd name="connsiteX0" fmla="*/ 121351 w 324253"/>
                  <a:gd name="connsiteY0" fmla="*/ 69854 h 353819"/>
                  <a:gd name="connsiteX1" fmla="*/ 182433 w 324253"/>
                  <a:gd name="connsiteY1" fmla="*/ 54827 h 353819"/>
                  <a:gd name="connsiteX2" fmla="*/ 236042 w 324253"/>
                  <a:gd name="connsiteY2" fmla="*/ 67255 h 353819"/>
                  <a:gd name="connsiteX3" fmla="*/ 276574 w 324253"/>
                  <a:gd name="connsiteY3" fmla="*/ 104538 h 353819"/>
                  <a:gd name="connsiteX4" fmla="*/ 324253 w 324253"/>
                  <a:gd name="connsiteY4" fmla="*/ 73834 h 353819"/>
                  <a:gd name="connsiteX5" fmla="*/ 267071 w 324253"/>
                  <a:gd name="connsiteY5" fmla="*/ 18926 h 353819"/>
                  <a:gd name="connsiteX6" fmla="*/ 183083 w 324253"/>
                  <a:gd name="connsiteY6" fmla="*/ 0 h 353819"/>
                  <a:gd name="connsiteX7" fmla="*/ 88618 w 324253"/>
                  <a:gd name="connsiteY7" fmla="*/ 22581 h 353819"/>
                  <a:gd name="connsiteX8" fmla="*/ 23556 w 324253"/>
                  <a:gd name="connsiteY8" fmla="*/ 85368 h 353819"/>
                  <a:gd name="connsiteX9" fmla="*/ 0 w 324253"/>
                  <a:gd name="connsiteY9" fmla="*/ 176585 h 353819"/>
                  <a:gd name="connsiteX10" fmla="*/ 23556 w 324253"/>
                  <a:gd name="connsiteY10" fmla="*/ 267802 h 353819"/>
                  <a:gd name="connsiteX11" fmla="*/ 88618 w 324253"/>
                  <a:gd name="connsiteY11" fmla="*/ 330914 h 353819"/>
                  <a:gd name="connsiteX12" fmla="*/ 183083 w 324253"/>
                  <a:gd name="connsiteY12" fmla="*/ 353820 h 353819"/>
                  <a:gd name="connsiteX13" fmla="*/ 267071 w 324253"/>
                  <a:gd name="connsiteY13" fmla="*/ 334488 h 353819"/>
                  <a:gd name="connsiteX14" fmla="*/ 324253 w 324253"/>
                  <a:gd name="connsiteY14" fmla="*/ 279254 h 353819"/>
                  <a:gd name="connsiteX15" fmla="*/ 276574 w 324253"/>
                  <a:gd name="connsiteY15" fmla="*/ 249201 h 353819"/>
                  <a:gd name="connsiteX16" fmla="*/ 236042 w 324253"/>
                  <a:gd name="connsiteY16" fmla="*/ 286484 h 353819"/>
                  <a:gd name="connsiteX17" fmla="*/ 182433 w 324253"/>
                  <a:gd name="connsiteY17" fmla="*/ 298911 h 353819"/>
                  <a:gd name="connsiteX18" fmla="*/ 121351 w 324253"/>
                  <a:gd name="connsiteY18" fmla="*/ 283884 h 353819"/>
                  <a:gd name="connsiteX19" fmla="*/ 78870 w 324253"/>
                  <a:gd name="connsiteY19" fmla="*/ 241078 h 353819"/>
                  <a:gd name="connsiteX20" fmla="*/ 63519 w 324253"/>
                  <a:gd name="connsiteY20" fmla="*/ 176666 h 353819"/>
                  <a:gd name="connsiteX21" fmla="*/ 78870 w 324253"/>
                  <a:gd name="connsiteY21" fmla="*/ 112904 h 353819"/>
                  <a:gd name="connsiteX22" fmla="*/ 121351 w 324253"/>
                  <a:gd name="connsiteY22" fmla="*/ 70098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24253" h="353819">
                    <a:moveTo>
                      <a:pt x="121351" y="69854"/>
                    </a:moveTo>
                    <a:cubicBezTo>
                      <a:pt x="139465" y="59863"/>
                      <a:pt x="159852" y="54827"/>
                      <a:pt x="182433" y="54827"/>
                    </a:cubicBezTo>
                    <a:cubicBezTo>
                      <a:pt x="202090" y="54827"/>
                      <a:pt x="219878" y="58970"/>
                      <a:pt x="236042" y="67255"/>
                    </a:cubicBezTo>
                    <a:cubicBezTo>
                      <a:pt x="252125" y="75540"/>
                      <a:pt x="265690" y="87968"/>
                      <a:pt x="276574" y="104538"/>
                    </a:cubicBezTo>
                    <a:lnTo>
                      <a:pt x="324253" y="73834"/>
                    </a:lnTo>
                    <a:cubicBezTo>
                      <a:pt x="310770" y="49873"/>
                      <a:pt x="291682" y="31515"/>
                      <a:pt x="267071" y="18926"/>
                    </a:cubicBezTo>
                    <a:cubicBezTo>
                      <a:pt x="242459" y="6336"/>
                      <a:pt x="214436" y="0"/>
                      <a:pt x="183083" y="0"/>
                    </a:cubicBezTo>
                    <a:cubicBezTo>
                      <a:pt x="147750" y="0"/>
                      <a:pt x="116315" y="7554"/>
                      <a:pt x="88618" y="22581"/>
                    </a:cubicBezTo>
                    <a:cubicBezTo>
                      <a:pt x="60919" y="37607"/>
                      <a:pt x="39232" y="58564"/>
                      <a:pt x="23556" y="85368"/>
                    </a:cubicBezTo>
                    <a:cubicBezTo>
                      <a:pt x="7879" y="112173"/>
                      <a:pt x="0" y="142551"/>
                      <a:pt x="0" y="176585"/>
                    </a:cubicBezTo>
                    <a:cubicBezTo>
                      <a:pt x="0" y="210619"/>
                      <a:pt x="7879" y="240997"/>
                      <a:pt x="23556" y="267802"/>
                    </a:cubicBezTo>
                    <a:cubicBezTo>
                      <a:pt x="39232" y="294606"/>
                      <a:pt x="60919" y="315644"/>
                      <a:pt x="88618" y="330914"/>
                    </a:cubicBezTo>
                    <a:cubicBezTo>
                      <a:pt x="116315" y="346185"/>
                      <a:pt x="147750" y="353820"/>
                      <a:pt x="183083" y="353820"/>
                    </a:cubicBezTo>
                    <a:cubicBezTo>
                      <a:pt x="214436" y="353820"/>
                      <a:pt x="242459" y="347403"/>
                      <a:pt x="267071" y="334488"/>
                    </a:cubicBezTo>
                    <a:cubicBezTo>
                      <a:pt x="291682" y="321654"/>
                      <a:pt x="310770" y="303216"/>
                      <a:pt x="324253" y="279254"/>
                    </a:cubicBezTo>
                    <a:lnTo>
                      <a:pt x="276574" y="249201"/>
                    </a:lnTo>
                    <a:cubicBezTo>
                      <a:pt x="265690" y="265771"/>
                      <a:pt x="252125" y="278199"/>
                      <a:pt x="236042" y="286484"/>
                    </a:cubicBezTo>
                    <a:cubicBezTo>
                      <a:pt x="219878" y="294768"/>
                      <a:pt x="202009" y="298911"/>
                      <a:pt x="182433" y="298911"/>
                    </a:cubicBezTo>
                    <a:cubicBezTo>
                      <a:pt x="159771" y="298911"/>
                      <a:pt x="139384" y="293956"/>
                      <a:pt x="121351" y="283884"/>
                    </a:cubicBezTo>
                    <a:cubicBezTo>
                      <a:pt x="103238" y="273894"/>
                      <a:pt x="89105" y="259598"/>
                      <a:pt x="78870" y="241078"/>
                    </a:cubicBezTo>
                    <a:cubicBezTo>
                      <a:pt x="68636" y="222559"/>
                      <a:pt x="63519" y="201115"/>
                      <a:pt x="63519" y="176666"/>
                    </a:cubicBezTo>
                    <a:cubicBezTo>
                      <a:pt x="63519" y="152217"/>
                      <a:pt x="68636" y="131423"/>
                      <a:pt x="78870" y="112904"/>
                    </a:cubicBezTo>
                    <a:cubicBezTo>
                      <a:pt x="89105" y="94384"/>
                      <a:pt x="103238" y="80089"/>
                      <a:pt x="121351" y="700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59" name="Полилиния: фигура 58">
                <a:extLst>
                  <a:ext uri="{FF2B5EF4-FFF2-40B4-BE49-F238E27FC236}">
                    <a16:creationId xmlns:a16="http://schemas.microsoft.com/office/drawing/2014/main" id="{9B3E5068-969F-44B0-8C8A-5DF5AFD40BC3}"/>
                  </a:ext>
                </a:extLst>
              </p:cNvPr>
              <p:cNvSpPr/>
              <p:nvPr/>
            </p:nvSpPr>
            <p:spPr>
              <a:xfrm>
                <a:off x="6105828" y="4170673"/>
                <a:ext cx="324903" cy="346428"/>
              </a:xfrm>
              <a:custGeom>
                <a:avLst/>
                <a:gdLst>
                  <a:gd name="connsiteX0" fmla="*/ 315806 w 324903"/>
                  <a:gd name="connsiteY0" fmla="*/ 0 h 346428"/>
                  <a:gd name="connsiteX1" fmla="*/ 248470 w 324903"/>
                  <a:gd name="connsiteY1" fmla="*/ 0 h 346428"/>
                  <a:gd name="connsiteX2" fmla="*/ 135972 w 324903"/>
                  <a:gd name="connsiteY2" fmla="*/ 146450 h 346428"/>
                  <a:gd name="connsiteX3" fmla="*/ 62787 w 324903"/>
                  <a:gd name="connsiteY3" fmla="*/ 146450 h 346428"/>
                  <a:gd name="connsiteX4" fmla="*/ 62787 w 324903"/>
                  <a:gd name="connsiteY4" fmla="*/ 0 h 346428"/>
                  <a:gd name="connsiteX5" fmla="*/ 0 w 324903"/>
                  <a:gd name="connsiteY5" fmla="*/ 0 h 346428"/>
                  <a:gd name="connsiteX6" fmla="*/ 0 w 324903"/>
                  <a:gd name="connsiteY6" fmla="*/ 346428 h 346428"/>
                  <a:gd name="connsiteX7" fmla="*/ 62787 w 324903"/>
                  <a:gd name="connsiteY7" fmla="*/ 346428 h 346428"/>
                  <a:gd name="connsiteX8" fmla="*/ 62787 w 324903"/>
                  <a:gd name="connsiteY8" fmla="*/ 199978 h 346428"/>
                  <a:gd name="connsiteX9" fmla="*/ 134672 w 324903"/>
                  <a:gd name="connsiteY9" fmla="*/ 199978 h 346428"/>
                  <a:gd name="connsiteX10" fmla="*/ 250988 w 324903"/>
                  <a:gd name="connsiteY10" fmla="*/ 346428 h 346428"/>
                  <a:gd name="connsiteX11" fmla="*/ 324903 w 324903"/>
                  <a:gd name="connsiteY11" fmla="*/ 346428 h 346428"/>
                  <a:gd name="connsiteX12" fmla="*/ 184382 w 324903"/>
                  <a:gd name="connsiteY12" fmla="*/ 166675 h 346428"/>
                  <a:gd name="connsiteX13" fmla="*/ 315806 w 324903"/>
                  <a:gd name="connsiteY13" fmla="*/ 0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4903" h="346428">
                    <a:moveTo>
                      <a:pt x="315806" y="0"/>
                    </a:moveTo>
                    <a:lnTo>
                      <a:pt x="248470" y="0"/>
                    </a:lnTo>
                    <a:lnTo>
                      <a:pt x="135972" y="146450"/>
                    </a:lnTo>
                    <a:lnTo>
                      <a:pt x="62787" y="146450"/>
                    </a:lnTo>
                    <a:lnTo>
                      <a:pt x="6278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62787" y="346428"/>
                    </a:lnTo>
                    <a:lnTo>
                      <a:pt x="62787" y="199978"/>
                    </a:lnTo>
                    <a:lnTo>
                      <a:pt x="134672" y="199978"/>
                    </a:lnTo>
                    <a:lnTo>
                      <a:pt x="250988" y="346428"/>
                    </a:lnTo>
                    <a:lnTo>
                      <a:pt x="324903" y="346428"/>
                    </a:lnTo>
                    <a:lnTo>
                      <a:pt x="184382" y="166675"/>
                    </a:lnTo>
                    <a:lnTo>
                      <a:pt x="315806" y="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0" name="Полилиния: фигура 59">
                <a:extLst>
                  <a:ext uri="{FF2B5EF4-FFF2-40B4-BE49-F238E27FC236}">
                    <a16:creationId xmlns:a16="http://schemas.microsoft.com/office/drawing/2014/main" id="{790ECBDE-893C-4F5C-AC8F-527F7CAFBC56}"/>
                  </a:ext>
                </a:extLst>
              </p:cNvPr>
              <p:cNvSpPr/>
              <p:nvPr/>
            </p:nvSpPr>
            <p:spPr>
              <a:xfrm>
                <a:off x="6452906" y="4167343"/>
                <a:ext cx="360317" cy="353819"/>
              </a:xfrm>
              <a:custGeom>
                <a:avLst/>
                <a:gdLst>
                  <a:gd name="connsiteX0" fmla="*/ 273000 w 360317"/>
                  <a:gd name="connsiteY0" fmla="*/ 22581 h 353819"/>
                  <a:gd name="connsiteX1" fmla="*/ 180484 w 360317"/>
                  <a:gd name="connsiteY1" fmla="*/ 0 h 353819"/>
                  <a:gd name="connsiteX2" fmla="*/ 87643 w 360317"/>
                  <a:gd name="connsiteY2" fmla="*/ 22581 h 353819"/>
                  <a:gd name="connsiteX3" fmla="*/ 23230 w 360317"/>
                  <a:gd name="connsiteY3" fmla="*/ 85368 h 353819"/>
                  <a:gd name="connsiteX4" fmla="*/ 0 w 360317"/>
                  <a:gd name="connsiteY4" fmla="*/ 176585 h 353819"/>
                  <a:gd name="connsiteX5" fmla="*/ 23230 w 360317"/>
                  <a:gd name="connsiteY5" fmla="*/ 267802 h 353819"/>
                  <a:gd name="connsiteX6" fmla="*/ 87643 w 360317"/>
                  <a:gd name="connsiteY6" fmla="*/ 330914 h 353819"/>
                  <a:gd name="connsiteX7" fmla="*/ 180484 w 360317"/>
                  <a:gd name="connsiteY7" fmla="*/ 353820 h 353819"/>
                  <a:gd name="connsiteX8" fmla="*/ 273000 w 360317"/>
                  <a:gd name="connsiteY8" fmla="*/ 330914 h 353819"/>
                  <a:gd name="connsiteX9" fmla="*/ 337087 w 360317"/>
                  <a:gd name="connsiteY9" fmla="*/ 267802 h 353819"/>
                  <a:gd name="connsiteX10" fmla="*/ 360318 w 360317"/>
                  <a:gd name="connsiteY10" fmla="*/ 176585 h 353819"/>
                  <a:gd name="connsiteX11" fmla="*/ 337087 w 360317"/>
                  <a:gd name="connsiteY11" fmla="*/ 85368 h 353819"/>
                  <a:gd name="connsiteX12" fmla="*/ 273000 w 360317"/>
                  <a:gd name="connsiteY12" fmla="*/ 22581 h 353819"/>
                  <a:gd name="connsiteX13" fmla="*/ 281854 w 360317"/>
                  <a:gd name="connsiteY13" fmla="*/ 240266 h 353819"/>
                  <a:gd name="connsiteX14" fmla="*/ 240348 w 360317"/>
                  <a:gd name="connsiteY14" fmla="*/ 283397 h 353819"/>
                  <a:gd name="connsiteX15" fmla="*/ 180565 w 360317"/>
                  <a:gd name="connsiteY15" fmla="*/ 298749 h 353819"/>
                  <a:gd name="connsiteX16" fmla="*/ 120783 w 360317"/>
                  <a:gd name="connsiteY16" fmla="*/ 283397 h 353819"/>
                  <a:gd name="connsiteX17" fmla="*/ 78951 w 360317"/>
                  <a:gd name="connsiteY17" fmla="*/ 240266 h 353819"/>
                  <a:gd name="connsiteX18" fmla="*/ 63600 w 360317"/>
                  <a:gd name="connsiteY18" fmla="*/ 176504 h 353819"/>
                  <a:gd name="connsiteX19" fmla="*/ 78951 w 360317"/>
                  <a:gd name="connsiteY19" fmla="*/ 112742 h 353819"/>
                  <a:gd name="connsiteX20" fmla="*/ 120783 w 360317"/>
                  <a:gd name="connsiteY20" fmla="*/ 69936 h 353819"/>
                  <a:gd name="connsiteX21" fmla="*/ 180565 w 360317"/>
                  <a:gd name="connsiteY21" fmla="*/ 54909 h 353819"/>
                  <a:gd name="connsiteX22" fmla="*/ 240348 w 360317"/>
                  <a:gd name="connsiteY22" fmla="*/ 69936 h 353819"/>
                  <a:gd name="connsiteX23" fmla="*/ 281854 w 360317"/>
                  <a:gd name="connsiteY23" fmla="*/ 112742 h 353819"/>
                  <a:gd name="connsiteX24" fmla="*/ 296880 w 360317"/>
                  <a:gd name="connsiteY24" fmla="*/ 176504 h 353819"/>
                  <a:gd name="connsiteX25" fmla="*/ 281854 w 360317"/>
                  <a:gd name="connsiteY25" fmla="*/ 240266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0317" h="353819">
                    <a:moveTo>
                      <a:pt x="273000" y="22581"/>
                    </a:moveTo>
                    <a:cubicBezTo>
                      <a:pt x="245790" y="7554"/>
                      <a:pt x="214924" y="0"/>
                      <a:pt x="180484" y="0"/>
                    </a:cubicBezTo>
                    <a:cubicBezTo>
                      <a:pt x="146044" y="0"/>
                      <a:pt x="115097" y="7554"/>
                      <a:pt x="87643" y="22581"/>
                    </a:cubicBezTo>
                    <a:cubicBezTo>
                      <a:pt x="60188" y="37608"/>
                      <a:pt x="38745" y="58564"/>
                      <a:pt x="23230" y="85368"/>
                    </a:cubicBezTo>
                    <a:cubicBezTo>
                      <a:pt x="7798" y="112173"/>
                      <a:pt x="0" y="142552"/>
                      <a:pt x="0" y="176585"/>
                    </a:cubicBezTo>
                    <a:cubicBezTo>
                      <a:pt x="0" y="210619"/>
                      <a:pt x="7717" y="240997"/>
                      <a:pt x="23230" y="267802"/>
                    </a:cubicBezTo>
                    <a:cubicBezTo>
                      <a:pt x="38745" y="294606"/>
                      <a:pt x="60188" y="315644"/>
                      <a:pt x="87643" y="330914"/>
                    </a:cubicBezTo>
                    <a:cubicBezTo>
                      <a:pt x="115097" y="346185"/>
                      <a:pt x="146044" y="353820"/>
                      <a:pt x="180484" y="353820"/>
                    </a:cubicBezTo>
                    <a:cubicBezTo>
                      <a:pt x="214924" y="353820"/>
                      <a:pt x="245708" y="346185"/>
                      <a:pt x="273000" y="330914"/>
                    </a:cubicBezTo>
                    <a:cubicBezTo>
                      <a:pt x="300211" y="315644"/>
                      <a:pt x="321573" y="294606"/>
                      <a:pt x="337087" y="267802"/>
                    </a:cubicBezTo>
                    <a:cubicBezTo>
                      <a:pt x="352601" y="240997"/>
                      <a:pt x="360318" y="210619"/>
                      <a:pt x="360318" y="176585"/>
                    </a:cubicBezTo>
                    <a:cubicBezTo>
                      <a:pt x="360318" y="142552"/>
                      <a:pt x="352601" y="112173"/>
                      <a:pt x="337087" y="85368"/>
                    </a:cubicBezTo>
                    <a:cubicBezTo>
                      <a:pt x="321654" y="58564"/>
                      <a:pt x="300292" y="37689"/>
                      <a:pt x="273000" y="22581"/>
                    </a:cubicBezTo>
                    <a:close/>
                    <a:moveTo>
                      <a:pt x="281854" y="240266"/>
                    </a:moveTo>
                    <a:cubicBezTo>
                      <a:pt x="271782" y="258786"/>
                      <a:pt x="257973" y="273163"/>
                      <a:pt x="240348" y="283397"/>
                    </a:cubicBezTo>
                    <a:cubicBezTo>
                      <a:pt x="222721" y="293631"/>
                      <a:pt x="202740" y="298749"/>
                      <a:pt x="180565" y="298749"/>
                    </a:cubicBezTo>
                    <a:cubicBezTo>
                      <a:pt x="158390" y="298749"/>
                      <a:pt x="138409" y="293631"/>
                      <a:pt x="120783" y="283397"/>
                    </a:cubicBezTo>
                    <a:cubicBezTo>
                      <a:pt x="103157" y="273163"/>
                      <a:pt x="89186" y="258786"/>
                      <a:pt x="78951" y="240266"/>
                    </a:cubicBezTo>
                    <a:cubicBezTo>
                      <a:pt x="68717" y="221747"/>
                      <a:pt x="63600" y="200465"/>
                      <a:pt x="63600" y="176504"/>
                    </a:cubicBezTo>
                    <a:cubicBezTo>
                      <a:pt x="63600" y="152542"/>
                      <a:pt x="68717" y="131261"/>
                      <a:pt x="78951" y="112742"/>
                    </a:cubicBezTo>
                    <a:cubicBezTo>
                      <a:pt x="89186" y="94222"/>
                      <a:pt x="103157" y="79926"/>
                      <a:pt x="120783" y="69936"/>
                    </a:cubicBezTo>
                    <a:cubicBezTo>
                      <a:pt x="138409" y="59945"/>
                      <a:pt x="158309" y="54909"/>
                      <a:pt x="180565" y="54909"/>
                    </a:cubicBezTo>
                    <a:cubicBezTo>
                      <a:pt x="202821" y="54909"/>
                      <a:pt x="222721" y="59945"/>
                      <a:pt x="240348" y="69936"/>
                    </a:cubicBezTo>
                    <a:cubicBezTo>
                      <a:pt x="257973" y="79926"/>
                      <a:pt x="271863" y="94222"/>
                      <a:pt x="281854" y="112742"/>
                    </a:cubicBezTo>
                    <a:cubicBezTo>
                      <a:pt x="291926" y="131261"/>
                      <a:pt x="296880" y="152542"/>
                      <a:pt x="296880" y="176504"/>
                    </a:cubicBezTo>
                    <a:cubicBezTo>
                      <a:pt x="296880" y="200465"/>
                      <a:pt x="291844" y="221747"/>
                      <a:pt x="281854" y="2402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1" name="Полилиния: фигура 60">
                <a:extLst>
                  <a:ext uri="{FF2B5EF4-FFF2-40B4-BE49-F238E27FC236}">
                    <a16:creationId xmlns:a16="http://schemas.microsoft.com/office/drawing/2014/main" id="{3F87D83C-F2A6-475E-84D1-4B7738FC8BB7}"/>
                  </a:ext>
                </a:extLst>
              </p:cNvPr>
              <p:cNvSpPr/>
              <p:nvPr/>
            </p:nvSpPr>
            <p:spPr>
              <a:xfrm>
                <a:off x="6963573" y="4035351"/>
                <a:ext cx="205826" cy="90241"/>
              </a:xfrm>
              <a:custGeom>
                <a:avLst/>
                <a:gdLst>
                  <a:gd name="connsiteX0" fmla="*/ 27373 w 205826"/>
                  <a:gd name="connsiteY0" fmla="*/ 67011 h 90241"/>
                  <a:gd name="connsiteX1" fmla="*/ 102507 w 205826"/>
                  <a:gd name="connsiteY1" fmla="*/ 90242 h 90241"/>
                  <a:gd name="connsiteX2" fmla="*/ 177722 w 205826"/>
                  <a:gd name="connsiteY2" fmla="*/ 67011 h 90241"/>
                  <a:gd name="connsiteX3" fmla="*/ 205827 w 205826"/>
                  <a:gd name="connsiteY3" fmla="*/ 0 h 90241"/>
                  <a:gd name="connsiteX4" fmla="*/ 162046 w 205826"/>
                  <a:gd name="connsiteY4" fmla="*/ 0 h 90241"/>
                  <a:gd name="connsiteX5" fmla="*/ 145069 w 205826"/>
                  <a:gd name="connsiteY5" fmla="*/ 38907 h 90241"/>
                  <a:gd name="connsiteX6" fmla="*/ 101938 w 205826"/>
                  <a:gd name="connsiteY6" fmla="*/ 53609 h 90241"/>
                  <a:gd name="connsiteX7" fmla="*/ 59133 w 205826"/>
                  <a:gd name="connsiteY7" fmla="*/ 38907 h 90241"/>
                  <a:gd name="connsiteX8" fmla="*/ 42481 w 205826"/>
                  <a:gd name="connsiteY8" fmla="*/ 0 h 90241"/>
                  <a:gd name="connsiteX9" fmla="*/ 0 w 205826"/>
                  <a:gd name="connsiteY9" fmla="*/ 0 h 90241"/>
                  <a:gd name="connsiteX10" fmla="*/ 27454 w 205826"/>
                  <a:gd name="connsiteY10" fmla="*/ 67011 h 90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826" h="90241">
                    <a:moveTo>
                      <a:pt x="27373" y="67011"/>
                    </a:moveTo>
                    <a:cubicBezTo>
                      <a:pt x="45243" y="82444"/>
                      <a:pt x="70261" y="90242"/>
                      <a:pt x="102507" y="90242"/>
                    </a:cubicBezTo>
                    <a:cubicBezTo>
                      <a:pt x="134754" y="90242"/>
                      <a:pt x="159365" y="82526"/>
                      <a:pt x="177722" y="67011"/>
                    </a:cubicBezTo>
                    <a:cubicBezTo>
                      <a:pt x="196079" y="51497"/>
                      <a:pt x="205420" y="29241"/>
                      <a:pt x="205827" y="0"/>
                    </a:cubicBezTo>
                    <a:lnTo>
                      <a:pt x="162046" y="0"/>
                    </a:lnTo>
                    <a:cubicBezTo>
                      <a:pt x="161640" y="16083"/>
                      <a:pt x="155954" y="29079"/>
                      <a:pt x="145069" y="38907"/>
                    </a:cubicBezTo>
                    <a:cubicBezTo>
                      <a:pt x="134185" y="48736"/>
                      <a:pt x="119808" y="53609"/>
                      <a:pt x="101938" y="53609"/>
                    </a:cubicBezTo>
                    <a:cubicBezTo>
                      <a:pt x="84069" y="53609"/>
                      <a:pt x="69773" y="48736"/>
                      <a:pt x="59133" y="38907"/>
                    </a:cubicBezTo>
                    <a:cubicBezTo>
                      <a:pt x="48411" y="29160"/>
                      <a:pt x="42887" y="16164"/>
                      <a:pt x="42481" y="0"/>
                    </a:cubicBezTo>
                    <a:lnTo>
                      <a:pt x="0" y="0"/>
                    </a:lnTo>
                    <a:cubicBezTo>
                      <a:pt x="406" y="29160"/>
                      <a:pt x="9585" y="51497"/>
                      <a:pt x="27454" y="670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2" name="Полилиния: фигура 61">
                <a:extLst>
                  <a:ext uri="{FF2B5EF4-FFF2-40B4-BE49-F238E27FC236}">
                    <a16:creationId xmlns:a16="http://schemas.microsoft.com/office/drawing/2014/main" id="{A1D6C476-B3B1-4910-BA7B-CCC33C7D148E}"/>
                  </a:ext>
                </a:extLst>
              </p:cNvPr>
              <p:cNvSpPr/>
              <p:nvPr/>
            </p:nvSpPr>
            <p:spPr>
              <a:xfrm>
                <a:off x="6904034" y="4170673"/>
                <a:ext cx="332132" cy="346428"/>
              </a:xfrm>
              <a:custGeom>
                <a:avLst/>
                <a:gdLst>
                  <a:gd name="connsiteX0" fmla="*/ 62707 w 332132"/>
                  <a:gd name="connsiteY0" fmla="*/ 252288 h 346428"/>
                  <a:gd name="connsiteX1" fmla="*/ 62707 w 332132"/>
                  <a:gd name="connsiteY1" fmla="*/ 0 h 346428"/>
                  <a:gd name="connsiteX2" fmla="*/ 0 w 332132"/>
                  <a:gd name="connsiteY2" fmla="*/ 0 h 346428"/>
                  <a:gd name="connsiteX3" fmla="*/ 0 w 332132"/>
                  <a:gd name="connsiteY3" fmla="*/ 346428 h 346428"/>
                  <a:gd name="connsiteX4" fmla="*/ 57508 w 332132"/>
                  <a:gd name="connsiteY4" fmla="*/ 346428 h 346428"/>
                  <a:gd name="connsiteX5" fmla="*/ 269345 w 332132"/>
                  <a:gd name="connsiteY5" fmla="*/ 94141 h 346428"/>
                  <a:gd name="connsiteX6" fmla="*/ 269345 w 332132"/>
                  <a:gd name="connsiteY6" fmla="*/ 346428 h 346428"/>
                  <a:gd name="connsiteX7" fmla="*/ 332133 w 332132"/>
                  <a:gd name="connsiteY7" fmla="*/ 346428 h 346428"/>
                  <a:gd name="connsiteX8" fmla="*/ 332133 w 332132"/>
                  <a:gd name="connsiteY8" fmla="*/ 0 h 346428"/>
                  <a:gd name="connsiteX9" fmla="*/ 275193 w 332132"/>
                  <a:gd name="connsiteY9" fmla="*/ 0 h 346428"/>
                  <a:gd name="connsiteX10" fmla="*/ 62707 w 332132"/>
                  <a:gd name="connsiteY10" fmla="*/ 25228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2" h="346428">
                    <a:moveTo>
                      <a:pt x="62707" y="252288"/>
                    </a:moveTo>
                    <a:lnTo>
                      <a:pt x="6270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345" y="94141"/>
                    </a:lnTo>
                    <a:lnTo>
                      <a:pt x="269345" y="346428"/>
                    </a:lnTo>
                    <a:lnTo>
                      <a:pt x="332133" y="346428"/>
                    </a:lnTo>
                    <a:lnTo>
                      <a:pt x="332133" y="0"/>
                    </a:lnTo>
                    <a:lnTo>
                      <a:pt x="275193" y="0"/>
                    </a:lnTo>
                    <a:lnTo>
                      <a:pt x="62707" y="25228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3" name="Полилиния: фигура 62">
                <a:extLst>
                  <a:ext uri="{FF2B5EF4-FFF2-40B4-BE49-F238E27FC236}">
                    <a16:creationId xmlns:a16="http://schemas.microsoft.com/office/drawing/2014/main" id="{04EE9FC0-DCA0-4B67-B5B6-6130E12C152F}"/>
                  </a:ext>
                </a:extLst>
              </p:cNvPr>
              <p:cNvSpPr/>
              <p:nvPr/>
            </p:nvSpPr>
            <p:spPr>
              <a:xfrm>
                <a:off x="7502181" y="4042498"/>
                <a:ext cx="546487" cy="491660"/>
              </a:xfrm>
              <a:custGeom>
                <a:avLst/>
                <a:gdLst>
                  <a:gd name="connsiteX0" fmla="*/ 482725 w 546487"/>
                  <a:gd name="connsiteY0" fmla="*/ 102994 h 491660"/>
                  <a:gd name="connsiteX1" fmla="*/ 303947 w 546487"/>
                  <a:gd name="connsiteY1" fmla="*/ 46461 h 491660"/>
                  <a:gd name="connsiteX2" fmla="*/ 303947 w 546487"/>
                  <a:gd name="connsiteY2" fmla="*/ 0 h 491660"/>
                  <a:gd name="connsiteX3" fmla="*/ 243190 w 546487"/>
                  <a:gd name="connsiteY3" fmla="*/ 0 h 491660"/>
                  <a:gd name="connsiteX4" fmla="*/ 243190 w 546487"/>
                  <a:gd name="connsiteY4" fmla="*/ 46461 h 491660"/>
                  <a:gd name="connsiteX5" fmla="*/ 63762 w 546487"/>
                  <a:gd name="connsiteY5" fmla="*/ 102669 h 491660"/>
                  <a:gd name="connsiteX6" fmla="*/ 0 w 546487"/>
                  <a:gd name="connsiteY6" fmla="*/ 245221 h 491660"/>
                  <a:gd name="connsiteX7" fmla="*/ 63762 w 546487"/>
                  <a:gd name="connsiteY7" fmla="*/ 387041 h 491660"/>
                  <a:gd name="connsiteX8" fmla="*/ 243190 w 546487"/>
                  <a:gd name="connsiteY8" fmla="*/ 443250 h 491660"/>
                  <a:gd name="connsiteX9" fmla="*/ 243190 w 546487"/>
                  <a:gd name="connsiteY9" fmla="*/ 491660 h 491660"/>
                  <a:gd name="connsiteX10" fmla="*/ 303947 w 546487"/>
                  <a:gd name="connsiteY10" fmla="*/ 491660 h 491660"/>
                  <a:gd name="connsiteX11" fmla="*/ 303947 w 546487"/>
                  <a:gd name="connsiteY11" fmla="*/ 443250 h 491660"/>
                  <a:gd name="connsiteX12" fmla="*/ 483050 w 546487"/>
                  <a:gd name="connsiteY12" fmla="*/ 387691 h 491660"/>
                  <a:gd name="connsiteX13" fmla="*/ 546488 w 546487"/>
                  <a:gd name="connsiteY13" fmla="*/ 245140 h 491660"/>
                  <a:gd name="connsiteX14" fmla="*/ 482725 w 546487"/>
                  <a:gd name="connsiteY14" fmla="*/ 102994 h 491660"/>
                  <a:gd name="connsiteX15" fmla="*/ 243190 w 546487"/>
                  <a:gd name="connsiteY15" fmla="*/ 392240 h 491660"/>
                  <a:gd name="connsiteX16" fmla="*/ 110142 w 546487"/>
                  <a:gd name="connsiteY16" fmla="*/ 349434 h 491660"/>
                  <a:gd name="connsiteX17" fmla="*/ 63356 w 546487"/>
                  <a:gd name="connsiteY17" fmla="*/ 245140 h 491660"/>
                  <a:gd name="connsiteX18" fmla="*/ 109411 w 546487"/>
                  <a:gd name="connsiteY18" fmla="*/ 140521 h 491660"/>
                  <a:gd name="connsiteX19" fmla="*/ 243109 w 546487"/>
                  <a:gd name="connsiteY19" fmla="*/ 98040 h 491660"/>
                  <a:gd name="connsiteX20" fmla="*/ 243109 w 546487"/>
                  <a:gd name="connsiteY20" fmla="*/ 392158 h 491660"/>
                  <a:gd name="connsiteX21" fmla="*/ 437645 w 546487"/>
                  <a:gd name="connsiteY21" fmla="*/ 349434 h 491660"/>
                  <a:gd name="connsiteX22" fmla="*/ 303947 w 546487"/>
                  <a:gd name="connsiteY22" fmla="*/ 392240 h 491660"/>
                  <a:gd name="connsiteX23" fmla="*/ 303947 w 546487"/>
                  <a:gd name="connsiteY23" fmla="*/ 98121 h 491660"/>
                  <a:gd name="connsiteX24" fmla="*/ 436995 w 546487"/>
                  <a:gd name="connsiteY24" fmla="*/ 140927 h 491660"/>
                  <a:gd name="connsiteX25" fmla="*/ 483700 w 546487"/>
                  <a:gd name="connsiteY25" fmla="*/ 244571 h 491660"/>
                  <a:gd name="connsiteX26" fmla="*/ 437645 w 546487"/>
                  <a:gd name="connsiteY26" fmla="*/ 349515 h 491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46487" h="491660">
                    <a:moveTo>
                      <a:pt x="482725" y="102994"/>
                    </a:moveTo>
                    <a:cubicBezTo>
                      <a:pt x="440244" y="68311"/>
                      <a:pt x="380624" y="49548"/>
                      <a:pt x="303947" y="46461"/>
                    </a:cubicBezTo>
                    <a:lnTo>
                      <a:pt x="303947" y="0"/>
                    </a:lnTo>
                    <a:lnTo>
                      <a:pt x="243190" y="0"/>
                    </a:lnTo>
                    <a:lnTo>
                      <a:pt x="243190" y="46461"/>
                    </a:lnTo>
                    <a:cubicBezTo>
                      <a:pt x="166026" y="49548"/>
                      <a:pt x="106244" y="68230"/>
                      <a:pt x="63762" y="102669"/>
                    </a:cubicBezTo>
                    <a:cubicBezTo>
                      <a:pt x="21281" y="137109"/>
                      <a:pt x="0" y="184626"/>
                      <a:pt x="0" y="245221"/>
                    </a:cubicBezTo>
                    <a:cubicBezTo>
                      <a:pt x="0" y="305815"/>
                      <a:pt x="21200" y="352683"/>
                      <a:pt x="63762" y="387041"/>
                    </a:cubicBezTo>
                    <a:cubicBezTo>
                      <a:pt x="106244" y="421481"/>
                      <a:pt x="166026" y="440244"/>
                      <a:pt x="243190" y="443250"/>
                    </a:cubicBezTo>
                    <a:lnTo>
                      <a:pt x="243190" y="491660"/>
                    </a:lnTo>
                    <a:lnTo>
                      <a:pt x="303947" y="491660"/>
                    </a:lnTo>
                    <a:lnTo>
                      <a:pt x="303947" y="443250"/>
                    </a:lnTo>
                    <a:cubicBezTo>
                      <a:pt x="381112" y="440650"/>
                      <a:pt x="440813" y="422131"/>
                      <a:pt x="483050" y="387691"/>
                    </a:cubicBezTo>
                    <a:cubicBezTo>
                      <a:pt x="525369" y="353251"/>
                      <a:pt x="546488" y="305815"/>
                      <a:pt x="546488" y="245140"/>
                    </a:cubicBezTo>
                    <a:cubicBezTo>
                      <a:pt x="546488" y="184464"/>
                      <a:pt x="525207" y="137597"/>
                      <a:pt x="482725" y="102994"/>
                    </a:cubicBezTo>
                    <a:close/>
                    <a:moveTo>
                      <a:pt x="243190" y="392240"/>
                    </a:moveTo>
                    <a:cubicBezTo>
                      <a:pt x="185682" y="388747"/>
                      <a:pt x="141333" y="374533"/>
                      <a:pt x="110142" y="349434"/>
                    </a:cubicBezTo>
                    <a:cubicBezTo>
                      <a:pt x="78952" y="324335"/>
                      <a:pt x="63356" y="289570"/>
                      <a:pt x="63356" y="245140"/>
                    </a:cubicBezTo>
                    <a:cubicBezTo>
                      <a:pt x="63356" y="200709"/>
                      <a:pt x="78708" y="165376"/>
                      <a:pt x="109411" y="140521"/>
                    </a:cubicBezTo>
                    <a:cubicBezTo>
                      <a:pt x="140115" y="115666"/>
                      <a:pt x="184708" y="101532"/>
                      <a:pt x="243109" y="98040"/>
                    </a:cubicBezTo>
                    <a:lnTo>
                      <a:pt x="243109" y="392158"/>
                    </a:lnTo>
                    <a:close/>
                    <a:moveTo>
                      <a:pt x="437645" y="349434"/>
                    </a:moveTo>
                    <a:cubicBezTo>
                      <a:pt x="406861" y="374451"/>
                      <a:pt x="362348" y="388747"/>
                      <a:pt x="303947" y="392240"/>
                    </a:cubicBezTo>
                    <a:lnTo>
                      <a:pt x="303947" y="98121"/>
                    </a:lnTo>
                    <a:cubicBezTo>
                      <a:pt x="361455" y="101614"/>
                      <a:pt x="405805" y="115828"/>
                      <a:pt x="436995" y="140927"/>
                    </a:cubicBezTo>
                    <a:cubicBezTo>
                      <a:pt x="468105" y="166026"/>
                      <a:pt x="483700" y="200547"/>
                      <a:pt x="483700" y="244571"/>
                    </a:cubicBezTo>
                    <a:cubicBezTo>
                      <a:pt x="483700" y="288595"/>
                      <a:pt x="468349" y="324416"/>
                      <a:pt x="437645" y="349515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4" name="Полилиния: фигура 63">
                <a:extLst>
                  <a:ext uri="{FF2B5EF4-FFF2-40B4-BE49-F238E27FC236}">
                    <a16:creationId xmlns:a16="http://schemas.microsoft.com/office/drawing/2014/main" id="{0AF0EE13-C8C7-44CC-82B8-AF6BA54C7E00}"/>
                  </a:ext>
                </a:extLst>
              </p:cNvPr>
              <p:cNvSpPr/>
              <p:nvPr/>
            </p:nvSpPr>
            <p:spPr>
              <a:xfrm>
                <a:off x="8106827" y="4167343"/>
                <a:ext cx="345210" cy="353819"/>
              </a:xfrm>
              <a:custGeom>
                <a:avLst/>
                <a:gdLst>
                  <a:gd name="connsiteX0" fmla="*/ 262522 w 345210"/>
                  <a:gd name="connsiteY0" fmla="*/ 22581 h 353819"/>
                  <a:gd name="connsiteX1" fmla="*/ 173986 w 345210"/>
                  <a:gd name="connsiteY1" fmla="*/ 0 h 353819"/>
                  <a:gd name="connsiteX2" fmla="*/ 84719 w 345210"/>
                  <a:gd name="connsiteY2" fmla="*/ 22581 h 353819"/>
                  <a:gd name="connsiteX3" fmla="*/ 22581 w 345210"/>
                  <a:gd name="connsiteY3" fmla="*/ 85693 h 353819"/>
                  <a:gd name="connsiteX4" fmla="*/ 0 w 345210"/>
                  <a:gd name="connsiteY4" fmla="*/ 176585 h 353819"/>
                  <a:gd name="connsiteX5" fmla="*/ 23230 w 345210"/>
                  <a:gd name="connsiteY5" fmla="*/ 268127 h 353819"/>
                  <a:gd name="connsiteX6" fmla="*/ 88942 w 345210"/>
                  <a:gd name="connsiteY6" fmla="*/ 331239 h 353819"/>
                  <a:gd name="connsiteX7" fmla="*/ 186332 w 345210"/>
                  <a:gd name="connsiteY7" fmla="*/ 353820 h 353819"/>
                  <a:gd name="connsiteX8" fmla="*/ 264471 w 345210"/>
                  <a:gd name="connsiteY8" fmla="*/ 339443 h 353819"/>
                  <a:gd name="connsiteX9" fmla="*/ 322954 w 345210"/>
                  <a:gd name="connsiteY9" fmla="*/ 297612 h 353819"/>
                  <a:gd name="connsiteX10" fmla="*/ 288271 w 345210"/>
                  <a:gd name="connsiteY10" fmla="*/ 257080 h 353819"/>
                  <a:gd name="connsiteX11" fmla="*/ 188281 w 345210"/>
                  <a:gd name="connsiteY11" fmla="*/ 298911 h 353819"/>
                  <a:gd name="connsiteX12" fmla="*/ 102994 w 345210"/>
                  <a:gd name="connsiteY12" fmla="*/ 271132 h 353819"/>
                  <a:gd name="connsiteX13" fmla="*/ 62787 w 345210"/>
                  <a:gd name="connsiteY13" fmla="*/ 197623 h 353819"/>
                  <a:gd name="connsiteX14" fmla="*/ 343910 w 345210"/>
                  <a:gd name="connsiteY14" fmla="*/ 197623 h 353819"/>
                  <a:gd name="connsiteX15" fmla="*/ 345210 w 345210"/>
                  <a:gd name="connsiteY15" fmla="*/ 178697 h 353819"/>
                  <a:gd name="connsiteX16" fmla="*/ 323279 w 345210"/>
                  <a:gd name="connsiteY16" fmla="*/ 85856 h 353819"/>
                  <a:gd name="connsiteX17" fmla="*/ 262522 w 345210"/>
                  <a:gd name="connsiteY17" fmla="*/ 22743 h 353819"/>
                  <a:gd name="connsiteX18" fmla="*/ 62787 w 345210"/>
                  <a:gd name="connsiteY18" fmla="*/ 152380 h 353819"/>
                  <a:gd name="connsiteX19" fmla="*/ 98446 w 345210"/>
                  <a:gd name="connsiteY19" fmla="*/ 80495 h 353819"/>
                  <a:gd name="connsiteX20" fmla="*/ 173986 w 345210"/>
                  <a:gd name="connsiteY20" fmla="*/ 53040 h 353819"/>
                  <a:gd name="connsiteX21" fmla="*/ 249445 w 345210"/>
                  <a:gd name="connsiteY21" fmla="*/ 80820 h 353819"/>
                  <a:gd name="connsiteX22" fmla="*/ 285103 w 345210"/>
                  <a:gd name="connsiteY22" fmla="*/ 152380 h 353819"/>
                  <a:gd name="connsiteX23" fmla="*/ 62869 w 345210"/>
                  <a:gd name="connsiteY23" fmla="*/ 152380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5210" h="353819">
                    <a:moveTo>
                      <a:pt x="262522" y="22581"/>
                    </a:moveTo>
                    <a:cubicBezTo>
                      <a:pt x="236610" y="7554"/>
                      <a:pt x="207045" y="0"/>
                      <a:pt x="173986" y="0"/>
                    </a:cubicBezTo>
                    <a:cubicBezTo>
                      <a:pt x="140927" y="0"/>
                      <a:pt x="111117" y="7554"/>
                      <a:pt x="84719" y="22581"/>
                    </a:cubicBezTo>
                    <a:cubicBezTo>
                      <a:pt x="58320" y="37608"/>
                      <a:pt x="37608" y="58645"/>
                      <a:pt x="22581" y="85693"/>
                    </a:cubicBezTo>
                    <a:cubicBezTo>
                      <a:pt x="7554" y="112742"/>
                      <a:pt x="0" y="143039"/>
                      <a:pt x="0" y="176585"/>
                    </a:cubicBezTo>
                    <a:cubicBezTo>
                      <a:pt x="0" y="210131"/>
                      <a:pt x="7717" y="241078"/>
                      <a:pt x="23230" y="268127"/>
                    </a:cubicBezTo>
                    <a:cubicBezTo>
                      <a:pt x="38664" y="295175"/>
                      <a:pt x="60595" y="316212"/>
                      <a:pt x="88942" y="331239"/>
                    </a:cubicBezTo>
                    <a:cubicBezTo>
                      <a:pt x="117290" y="346266"/>
                      <a:pt x="149699" y="353820"/>
                      <a:pt x="186332" y="353820"/>
                    </a:cubicBezTo>
                    <a:cubicBezTo>
                      <a:pt x="215086" y="353820"/>
                      <a:pt x="241160" y="349028"/>
                      <a:pt x="264471" y="339443"/>
                    </a:cubicBezTo>
                    <a:cubicBezTo>
                      <a:pt x="287783" y="329858"/>
                      <a:pt x="307278" y="315888"/>
                      <a:pt x="322954" y="297612"/>
                    </a:cubicBezTo>
                    <a:lnTo>
                      <a:pt x="288271" y="257080"/>
                    </a:lnTo>
                    <a:cubicBezTo>
                      <a:pt x="263009" y="284940"/>
                      <a:pt x="229625" y="298911"/>
                      <a:pt x="188281" y="298911"/>
                    </a:cubicBezTo>
                    <a:cubicBezTo>
                      <a:pt x="154248" y="298911"/>
                      <a:pt x="125819" y="289651"/>
                      <a:pt x="102994" y="271132"/>
                    </a:cubicBezTo>
                    <a:cubicBezTo>
                      <a:pt x="80089" y="252612"/>
                      <a:pt x="66687" y="228082"/>
                      <a:pt x="62787" y="197623"/>
                    </a:cubicBezTo>
                    <a:lnTo>
                      <a:pt x="343910" y="197623"/>
                    </a:lnTo>
                    <a:cubicBezTo>
                      <a:pt x="344804" y="189825"/>
                      <a:pt x="345210" y="183489"/>
                      <a:pt x="345210" y="178697"/>
                    </a:cubicBezTo>
                    <a:cubicBezTo>
                      <a:pt x="345210" y="143851"/>
                      <a:pt x="337900" y="112904"/>
                      <a:pt x="323279" y="85856"/>
                    </a:cubicBezTo>
                    <a:cubicBezTo>
                      <a:pt x="308659" y="58808"/>
                      <a:pt x="288433" y="37851"/>
                      <a:pt x="262522" y="22743"/>
                    </a:cubicBezTo>
                    <a:close/>
                    <a:moveTo>
                      <a:pt x="62787" y="152380"/>
                    </a:moveTo>
                    <a:cubicBezTo>
                      <a:pt x="66280" y="122732"/>
                      <a:pt x="78139" y="98771"/>
                      <a:pt x="98446" y="80495"/>
                    </a:cubicBezTo>
                    <a:cubicBezTo>
                      <a:pt x="118671" y="62138"/>
                      <a:pt x="143851" y="53040"/>
                      <a:pt x="173986" y="53040"/>
                    </a:cubicBezTo>
                    <a:cubicBezTo>
                      <a:pt x="204121" y="53040"/>
                      <a:pt x="229220" y="62300"/>
                      <a:pt x="249445" y="80820"/>
                    </a:cubicBezTo>
                    <a:cubicBezTo>
                      <a:pt x="269751" y="99339"/>
                      <a:pt x="281610" y="123220"/>
                      <a:pt x="285103" y="152380"/>
                    </a:cubicBezTo>
                    <a:lnTo>
                      <a:pt x="62869" y="15238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5" name="Полилиния: фигура 64">
                <a:extLst>
                  <a:ext uri="{FF2B5EF4-FFF2-40B4-BE49-F238E27FC236}">
                    <a16:creationId xmlns:a16="http://schemas.microsoft.com/office/drawing/2014/main" id="{8DAE5E6F-01C1-4FAD-B0A6-E5D1126CC35A}"/>
                  </a:ext>
                </a:extLst>
              </p:cNvPr>
              <p:cNvSpPr/>
              <p:nvPr/>
            </p:nvSpPr>
            <p:spPr>
              <a:xfrm>
                <a:off x="8488019" y="4170673"/>
                <a:ext cx="407915" cy="426923"/>
              </a:xfrm>
              <a:custGeom>
                <a:avLst/>
                <a:gdLst>
                  <a:gd name="connsiteX0" fmla="*/ 354957 w 407915"/>
                  <a:gd name="connsiteY0" fmla="*/ 0 h 426923"/>
                  <a:gd name="connsiteX1" fmla="*/ 86262 w 407915"/>
                  <a:gd name="connsiteY1" fmla="*/ 0 h 426923"/>
                  <a:gd name="connsiteX2" fmla="*/ 81063 w 407915"/>
                  <a:gd name="connsiteY2" fmla="*/ 116965 h 426923"/>
                  <a:gd name="connsiteX3" fmla="*/ 64087 w 407915"/>
                  <a:gd name="connsiteY3" fmla="*/ 244490 h 426923"/>
                  <a:gd name="connsiteX4" fmla="*/ 18357 w 407915"/>
                  <a:gd name="connsiteY4" fmla="*/ 291601 h 426923"/>
                  <a:gd name="connsiteX5" fmla="*/ 0 w 407915"/>
                  <a:gd name="connsiteY5" fmla="*/ 291601 h 426923"/>
                  <a:gd name="connsiteX6" fmla="*/ 0 w 407915"/>
                  <a:gd name="connsiteY6" fmla="*/ 426923 h 426923"/>
                  <a:gd name="connsiteX7" fmla="*/ 59458 w 407915"/>
                  <a:gd name="connsiteY7" fmla="*/ 426923 h 426923"/>
                  <a:gd name="connsiteX8" fmla="*/ 59458 w 407915"/>
                  <a:gd name="connsiteY8" fmla="*/ 346510 h 426923"/>
                  <a:gd name="connsiteX9" fmla="*/ 349027 w 407915"/>
                  <a:gd name="connsiteY9" fmla="*/ 346510 h 426923"/>
                  <a:gd name="connsiteX10" fmla="*/ 349027 w 407915"/>
                  <a:gd name="connsiteY10" fmla="*/ 426923 h 426923"/>
                  <a:gd name="connsiteX11" fmla="*/ 407916 w 407915"/>
                  <a:gd name="connsiteY11" fmla="*/ 426923 h 426923"/>
                  <a:gd name="connsiteX12" fmla="*/ 407916 w 407915"/>
                  <a:gd name="connsiteY12" fmla="*/ 291601 h 426923"/>
                  <a:gd name="connsiteX13" fmla="*/ 354957 w 407915"/>
                  <a:gd name="connsiteY13" fmla="*/ 291601 h 426923"/>
                  <a:gd name="connsiteX14" fmla="*/ 354957 w 407915"/>
                  <a:gd name="connsiteY14" fmla="*/ 0 h 426923"/>
                  <a:gd name="connsiteX15" fmla="*/ 292169 w 407915"/>
                  <a:gd name="connsiteY15" fmla="*/ 291520 h 426923"/>
                  <a:gd name="connsiteX16" fmla="*/ 98040 w 407915"/>
                  <a:gd name="connsiteY16" fmla="*/ 291520 h 426923"/>
                  <a:gd name="connsiteX17" fmla="*/ 127768 w 407915"/>
                  <a:gd name="connsiteY17" fmla="*/ 229707 h 426923"/>
                  <a:gd name="connsiteX18" fmla="*/ 138572 w 407915"/>
                  <a:gd name="connsiteY18" fmla="*/ 121514 h 426923"/>
                  <a:gd name="connsiteX19" fmla="*/ 141820 w 407915"/>
                  <a:gd name="connsiteY19" fmla="*/ 54827 h 426923"/>
                  <a:gd name="connsiteX20" fmla="*/ 292169 w 407915"/>
                  <a:gd name="connsiteY20" fmla="*/ 54827 h 426923"/>
                  <a:gd name="connsiteX21" fmla="*/ 292169 w 407915"/>
                  <a:gd name="connsiteY21" fmla="*/ 291520 h 42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07915" h="426923">
                    <a:moveTo>
                      <a:pt x="354957" y="0"/>
                    </a:moveTo>
                    <a:lnTo>
                      <a:pt x="86262" y="0"/>
                    </a:lnTo>
                    <a:lnTo>
                      <a:pt x="81063" y="116965"/>
                    </a:lnTo>
                    <a:cubicBezTo>
                      <a:pt x="77977" y="171874"/>
                      <a:pt x="72373" y="214355"/>
                      <a:pt x="64087" y="244490"/>
                    </a:cubicBezTo>
                    <a:cubicBezTo>
                      <a:pt x="55802" y="274543"/>
                      <a:pt x="40532" y="290220"/>
                      <a:pt x="18357" y="291601"/>
                    </a:cubicBezTo>
                    <a:lnTo>
                      <a:pt x="0" y="291601"/>
                    </a:lnTo>
                    <a:lnTo>
                      <a:pt x="0" y="426923"/>
                    </a:lnTo>
                    <a:lnTo>
                      <a:pt x="59458" y="426923"/>
                    </a:lnTo>
                    <a:lnTo>
                      <a:pt x="59458" y="346510"/>
                    </a:lnTo>
                    <a:lnTo>
                      <a:pt x="349027" y="346510"/>
                    </a:lnTo>
                    <a:lnTo>
                      <a:pt x="349027" y="426923"/>
                    </a:lnTo>
                    <a:lnTo>
                      <a:pt x="407916" y="426923"/>
                    </a:lnTo>
                    <a:lnTo>
                      <a:pt x="407916" y="291601"/>
                    </a:lnTo>
                    <a:lnTo>
                      <a:pt x="354957" y="291601"/>
                    </a:lnTo>
                    <a:lnTo>
                      <a:pt x="354957" y="0"/>
                    </a:lnTo>
                    <a:close/>
                    <a:moveTo>
                      <a:pt x="292169" y="291520"/>
                    </a:moveTo>
                    <a:lnTo>
                      <a:pt x="98040" y="291520"/>
                    </a:lnTo>
                    <a:cubicBezTo>
                      <a:pt x="112416" y="278849"/>
                      <a:pt x="122327" y="258298"/>
                      <a:pt x="127768" y="229707"/>
                    </a:cubicBezTo>
                    <a:cubicBezTo>
                      <a:pt x="133211" y="201196"/>
                      <a:pt x="136784" y="165132"/>
                      <a:pt x="138572" y="121514"/>
                    </a:cubicBezTo>
                    <a:lnTo>
                      <a:pt x="141820" y="54827"/>
                    </a:lnTo>
                    <a:lnTo>
                      <a:pt x="292169" y="54827"/>
                    </a:lnTo>
                    <a:lnTo>
                      <a:pt x="292169" y="29152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6" name="Полилиния: фигура 65">
                <a:extLst>
                  <a:ext uri="{FF2B5EF4-FFF2-40B4-BE49-F238E27FC236}">
                    <a16:creationId xmlns:a16="http://schemas.microsoft.com/office/drawing/2014/main" id="{7A50062C-A459-4C25-A43B-F2B9F8F155C0}"/>
                  </a:ext>
                </a:extLst>
              </p:cNvPr>
              <p:cNvSpPr/>
              <p:nvPr/>
            </p:nvSpPr>
            <p:spPr>
              <a:xfrm>
                <a:off x="8945564" y="4167343"/>
                <a:ext cx="345209" cy="353819"/>
              </a:xfrm>
              <a:custGeom>
                <a:avLst/>
                <a:gdLst>
                  <a:gd name="connsiteX0" fmla="*/ 262441 w 345209"/>
                  <a:gd name="connsiteY0" fmla="*/ 22581 h 353819"/>
                  <a:gd name="connsiteX1" fmla="*/ 173905 w 345209"/>
                  <a:gd name="connsiteY1" fmla="*/ 0 h 353819"/>
                  <a:gd name="connsiteX2" fmla="*/ 84638 w 345209"/>
                  <a:gd name="connsiteY2" fmla="*/ 22581 h 353819"/>
                  <a:gd name="connsiteX3" fmla="*/ 22581 w 345209"/>
                  <a:gd name="connsiteY3" fmla="*/ 85693 h 353819"/>
                  <a:gd name="connsiteX4" fmla="*/ 0 w 345209"/>
                  <a:gd name="connsiteY4" fmla="*/ 176585 h 353819"/>
                  <a:gd name="connsiteX5" fmla="*/ 23231 w 345209"/>
                  <a:gd name="connsiteY5" fmla="*/ 268127 h 353819"/>
                  <a:gd name="connsiteX6" fmla="*/ 88943 w 345209"/>
                  <a:gd name="connsiteY6" fmla="*/ 331239 h 353819"/>
                  <a:gd name="connsiteX7" fmla="*/ 186333 w 345209"/>
                  <a:gd name="connsiteY7" fmla="*/ 353820 h 353819"/>
                  <a:gd name="connsiteX8" fmla="*/ 264472 w 345209"/>
                  <a:gd name="connsiteY8" fmla="*/ 339443 h 353819"/>
                  <a:gd name="connsiteX9" fmla="*/ 322954 w 345209"/>
                  <a:gd name="connsiteY9" fmla="*/ 297612 h 353819"/>
                  <a:gd name="connsiteX10" fmla="*/ 288271 w 345209"/>
                  <a:gd name="connsiteY10" fmla="*/ 257080 h 353819"/>
                  <a:gd name="connsiteX11" fmla="*/ 188282 w 345209"/>
                  <a:gd name="connsiteY11" fmla="*/ 298911 h 353819"/>
                  <a:gd name="connsiteX12" fmla="*/ 102995 w 345209"/>
                  <a:gd name="connsiteY12" fmla="*/ 271132 h 353819"/>
                  <a:gd name="connsiteX13" fmla="*/ 62788 w 345209"/>
                  <a:gd name="connsiteY13" fmla="*/ 197623 h 353819"/>
                  <a:gd name="connsiteX14" fmla="*/ 343911 w 345209"/>
                  <a:gd name="connsiteY14" fmla="*/ 197623 h 353819"/>
                  <a:gd name="connsiteX15" fmla="*/ 345210 w 345209"/>
                  <a:gd name="connsiteY15" fmla="*/ 178697 h 353819"/>
                  <a:gd name="connsiteX16" fmla="*/ 323279 w 345209"/>
                  <a:gd name="connsiteY16" fmla="*/ 85856 h 353819"/>
                  <a:gd name="connsiteX17" fmla="*/ 262523 w 345209"/>
                  <a:gd name="connsiteY17" fmla="*/ 22743 h 353819"/>
                  <a:gd name="connsiteX18" fmla="*/ 62788 w 345209"/>
                  <a:gd name="connsiteY18" fmla="*/ 152380 h 353819"/>
                  <a:gd name="connsiteX19" fmla="*/ 98446 w 345209"/>
                  <a:gd name="connsiteY19" fmla="*/ 80495 h 353819"/>
                  <a:gd name="connsiteX20" fmla="*/ 173986 w 345209"/>
                  <a:gd name="connsiteY20" fmla="*/ 53040 h 353819"/>
                  <a:gd name="connsiteX21" fmla="*/ 249445 w 345209"/>
                  <a:gd name="connsiteY21" fmla="*/ 80820 h 353819"/>
                  <a:gd name="connsiteX22" fmla="*/ 285104 w 345209"/>
                  <a:gd name="connsiteY22" fmla="*/ 152380 h 353819"/>
                  <a:gd name="connsiteX23" fmla="*/ 62870 w 345209"/>
                  <a:gd name="connsiteY23" fmla="*/ 152380 h 35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5209" h="353819">
                    <a:moveTo>
                      <a:pt x="262441" y="22581"/>
                    </a:moveTo>
                    <a:cubicBezTo>
                      <a:pt x="236530" y="7554"/>
                      <a:pt x="206964" y="0"/>
                      <a:pt x="173905" y="0"/>
                    </a:cubicBezTo>
                    <a:cubicBezTo>
                      <a:pt x="140846" y="0"/>
                      <a:pt x="111036" y="7554"/>
                      <a:pt x="84638" y="22581"/>
                    </a:cubicBezTo>
                    <a:cubicBezTo>
                      <a:pt x="58239" y="37608"/>
                      <a:pt x="37526" y="58645"/>
                      <a:pt x="22581" y="85693"/>
                    </a:cubicBezTo>
                    <a:cubicBezTo>
                      <a:pt x="7554" y="112742"/>
                      <a:pt x="0" y="143039"/>
                      <a:pt x="0" y="176585"/>
                    </a:cubicBezTo>
                    <a:cubicBezTo>
                      <a:pt x="0" y="210131"/>
                      <a:pt x="7717" y="241078"/>
                      <a:pt x="23231" y="268127"/>
                    </a:cubicBezTo>
                    <a:cubicBezTo>
                      <a:pt x="38664" y="295175"/>
                      <a:pt x="60595" y="316212"/>
                      <a:pt x="88943" y="331239"/>
                    </a:cubicBezTo>
                    <a:cubicBezTo>
                      <a:pt x="117291" y="346266"/>
                      <a:pt x="149700" y="353820"/>
                      <a:pt x="186333" y="353820"/>
                    </a:cubicBezTo>
                    <a:cubicBezTo>
                      <a:pt x="215087" y="353820"/>
                      <a:pt x="241160" y="349028"/>
                      <a:pt x="264472" y="339443"/>
                    </a:cubicBezTo>
                    <a:cubicBezTo>
                      <a:pt x="287784" y="329858"/>
                      <a:pt x="307278" y="315888"/>
                      <a:pt x="322954" y="297612"/>
                    </a:cubicBezTo>
                    <a:lnTo>
                      <a:pt x="288271" y="257080"/>
                    </a:lnTo>
                    <a:cubicBezTo>
                      <a:pt x="263009" y="284940"/>
                      <a:pt x="229626" y="298911"/>
                      <a:pt x="188282" y="298911"/>
                    </a:cubicBezTo>
                    <a:cubicBezTo>
                      <a:pt x="154249" y="298911"/>
                      <a:pt x="125820" y="289651"/>
                      <a:pt x="102995" y="271132"/>
                    </a:cubicBezTo>
                    <a:cubicBezTo>
                      <a:pt x="80090" y="252612"/>
                      <a:pt x="66687" y="228082"/>
                      <a:pt x="62788" y="197623"/>
                    </a:cubicBezTo>
                    <a:lnTo>
                      <a:pt x="343911" y="197623"/>
                    </a:lnTo>
                    <a:cubicBezTo>
                      <a:pt x="344804" y="189825"/>
                      <a:pt x="345210" y="183489"/>
                      <a:pt x="345210" y="178697"/>
                    </a:cubicBezTo>
                    <a:cubicBezTo>
                      <a:pt x="345210" y="143851"/>
                      <a:pt x="337900" y="112904"/>
                      <a:pt x="323279" y="85856"/>
                    </a:cubicBezTo>
                    <a:cubicBezTo>
                      <a:pt x="308658" y="58808"/>
                      <a:pt x="288433" y="37851"/>
                      <a:pt x="262523" y="22743"/>
                    </a:cubicBezTo>
                    <a:close/>
                    <a:moveTo>
                      <a:pt x="62788" y="152380"/>
                    </a:moveTo>
                    <a:cubicBezTo>
                      <a:pt x="66281" y="122732"/>
                      <a:pt x="78139" y="98771"/>
                      <a:pt x="98446" y="80495"/>
                    </a:cubicBezTo>
                    <a:cubicBezTo>
                      <a:pt x="118672" y="62138"/>
                      <a:pt x="143852" y="53040"/>
                      <a:pt x="173986" y="53040"/>
                    </a:cubicBezTo>
                    <a:cubicBezTo>
                      <a:pt x="204121" y="53040"/>
                      <a:pt x="229220" y="62300"/>
                      <a:pt x="249445" y="80820"/>
                    </a:cubicBezTo>
                    <a:cubicBezTo>
                      <a:pt x="269752" y="99339"/>
                      <a:pt x="281610" y="123220"/>
                      <a:pt x="285104" y="152380"/>
                    </a:cubicBezTo>
                    <a:lnTo>
                      <a:pt x="62870" y="15238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7" name="Полилиния: фигура 66">
                <a:extLst>
                  <a:ext uri="{FF2B5EF4-FFF2-40B4-BE49-F238E27FC236}">
                    <a16:creationId xmlns:a16="http://schemas.microsoft.com/office/drawing/2014/main" id="{98ECCC2D-0EC4-4A8B-A4F6-115F79C82FBD}"/>
                  </a:ext>
                </a:extLst>
              </p:cNvPr>
              <p:cNvSpPr/>
              <p:nvPr/>
            </p:nvSpPr>
            <p:spPr>
              <a:xfrm>
                <a:off x="9388245" y="4167343"/>
                <a:ext cx="358937" cy="476552"/>
              </a:xfrm>
              <a:custGeom>
                <a:avLst/>
                <a:gdLst>
                  <a:gd name="connsiteX0" fmla="*/ 273813 w 358937"/>
                  <a:gd name="connsiteY0" fmla="*/ 22256 h 476552"/>
                  <a:gd name="connsiteX1" fmla="*/ 183653 w 358937"/>
                  <a:gd name="connsiteY1" fmla="*/ 0 h 476552"/>
                  <a:gd name="connsiteX2" fmla="*/ 113067 w 358937"/>
                  <a:gd name="connsiteY2" fmla="*/ 14702 h 476552"/>
                  <a:gd name="connsiteX3" fmla="*/ 60107 w 358937"/>
                  <a:gd name="connsiteY3" fmla="*/ 58158 h 476552"/>
                  <a:gd name="connsiteX4" fmla="*/ 60107 w 358937"/>
                  <a:gd name="connsiteY4" fmla="*/ 3249 h 476552"/>
                  <a:gd name="connsiteX5" fmla="*/ 0 w 358937"/>
                  <a:gd name="connsiteY5" fmla="*/ 3249 h 476552"/>
                  <a:gd name="connsiteX6" fmla="*/ 0 w 358937"/>
                  <a:gd name="connsiteY6" fmla="*/ 476552 h 476552"/>
                  <a:gd name="connsiteX7" fmla="*/ 62788 w 358937"/>
                  <a:gd name="connsiteY7" fmla="*/ 476552 h 476552"/>
                  <a:gd name="connsiteX8" fmla="*/ 62788 w 358937"/>
                  <a:gd name="connsiteY8" fmla="*/ 297449 h 476552"/>
                  <a:gd name="connsiteX9" fmla="*/ 115423 w 358937"/>
                  <a:gd name="connsiteY9" fmla="*/ 339281 h 476552"/>
                  <a:gd name="connsiteX10" fmla="*/ 183733 w 358937"/>
                  <a:gd name="connsiteY10" fmla="*/ 353657 h 476552"/>
                  <a:gd name="connsiteX11" fmla="*/ 273894 w 358937"/>
                  <a:gd name="connsiteY11" fmla="*/ 331402 h 476552"/>
                  <a:gd name="connsiteX12" fmla="*/ 336357 w 358937"/>
                  <a:gd name="connsiteY12" fmla="*/ 268939 h 476552"/>
                  <a:gd name="connsiteX13" fmla="*/ 358938 w 358937"/>
                  <a:gd name="connsiteY13" fmla="*/ 176423 h 476552"/>
                  <a:gd name="connsiteX14" fmla="*/ 336357 w 358937"/>
                  <a:gd name="connsiteY14" fmla="*/ 84231 h 476552"/>
                  <a:gd name="connsiteX15" fmla="*/ 273894 w 358937"/>
                  <a:gd name="connsiteY15" fmla="*/ 22175 h 476552"/>
                  <a:gd name="connsiteX16" fmla="*/ 279986 w 358937"/>
                  <a:gd name="connsiteY16" fmla="*/ 240266 h 476552"/>
                  <a:gd name="connsiteX17" fmla="*/ 238155 w 358937"/>
                  <a:gd name="connsiteY17" fmla="*/ 283397 h 476552"/>
                  <a:gd name="connsiteX18" fmla="*/ 178373 w 358937"/>
                  <a:gd name="connsiteY18" fmla="*/ 298749 h 476552"/>
                  <a:gd name="connsiteX19" fmla="*/ 118915 w 358937"/>
                  <a:gd name="connsiteY19" fmla="*/ 283397 h 476552"/>
                  <a:gd name="connsiteX20" fmla="*/ 77084 w 358937"/>
                  <a:gd name="connsiteY20" fmla="*/ 240266 h 476552"/>
                  <a:gd name="connsiteX21" fmla="*/ 62057 w 358937"/>
                  <a:gd name="connsiteY21" fmla="*/ 176504 h 476552"/>
                  <a:gd name="connsiteX22" fmla="*/ 77408 w 358937"/>
                  <a:gd name="connsiteY22" fmla="*/ 113067 h 476552"/>
                  <a:gd name="connsiteX23" fmla="*/ 119240 w 358937"/>
                  <a:gd name="connsiteY23" fmla="*/ 70260 h 476552"/>
                  <a:gd name="connsiteX24" fmla="*/ 178373 w 358937"/>
                  <a:gd name="connsiteY24" fmla="*/ 54909 h 476552"/>
                  <a:gd name="connsiteX25" fmla="*/ 238155 w 358937"/>
                  <a:gd name="connsiteY25" fmla="*/ 69936 h 476552"/>
                  <a:gd name="connsiteX26" fmla="*/ 279986 w 358937"/>
                  <a:gd name="connsiteY26" fmla="*/ 112742 h 476552"/>
                  <a:gd name="connsiteX27" fmla="*/ 295338 w 358937"/>
                  <a:gd name="connsiteY27" fmla="*/ 176504 h 476552"/>
                  <a:gd name="connsiteX28" fmla="*/ 279986 w 358937"/>
                  <a:gd name="connsiteY28" fmla="*/ 240266 h 476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58937" h="476552">
                    <a:moveTo>
                      <a:pt x="273813" y="22256"/>
                    </a:moveTo>
                    <a:cubicBezTo>
                      <a:pt x="247252" y="7473"/>
                      <a:pt x="217199" y="0"/>
                      <a:pt x="183653" y="0"/>
                    </a:cubicBezTo>
                    <a:cubicBezTo>
                      <a:pt x="157904" y="0"/>
                      <a:pt x="134429" y="4874"/>
                      <a:pt x="113067" y="14702"/>
                    </a:cubicBezTo>
                    <a:cubicBezTo>
                      <a:pt x="91704" y="24530"/>
                      <a:pt x="74078" y="38989"/>
                      <a:pt x="60107" y="58158"/>
                    </a:cubicBezTo>
                    <a:lnTo>
                      <a:pt x="60107" y="3249"/>
                    </a:lnTo>
                    <a:lnTo>
                      <a:pt x="0" y="3249"/>
                    </a:lnTo>
                    <a:lnTo>
                      <a:pt x="0" y="476552"/>
                    </a:lnTo>
                    <a:lnTo>
                      <a:pt x="62788" y="476552"/>
                    </a:lnTo>
                    <a:lnTo>
                      <a:pt x="62788" y="297449"/>
                    </a:lnTo>
                    <a:cubicBezTo>
                      <a:pt x="77165" y="315806"/>
                      <a:pt x="94710" y="329696"/>
                      <a:pt x="115423" y="339281"/>
                    </a:cubicBezTo>
                    <a:cubicBezTo>
                      <a:pt x="136135" y="348865"/>
                      <a:pt x="158878" y="353657"/>
                      <a:pt x="183733" y="353657"/>
                    </a:cubicBezTo>
                    <a:cubicBezTo>
                      <a:pt x="217279" y="353657"/>
                      <a:pt x="247333" y="346266"/>
                      <a:pt x="273894" y="331402"/>
                    </a:cubicBezTo>
                    <a:cubicBezTo>
                      <a:pt x="300455" y="316537"/>
                      <a:pt x="321330" y="295743"/>
                      <a:pt x="336357" y="268939"/>
                    </a:cubicBezTo>
                    <a:cubicBezTo>
                      <a:pt x="351383" y="242134"/>
                      <a:pt x="358938" y="211350"/>
                      <a:pt x="358938" y="176423"/>
                    </a:cubicBezTo>
                    <a:cubicBezTo>
                      <a:pt x="358938" y="141496"/>
                      <a:pt x="351383" y="110873"/>
                      <a:pt x="336357" y="84231"/>
                    </a:cubicBezTo>
                    <a:cubicBezTo>
                      <a:pt x="321330" y="57670"/>
                      <a:pt x="300455" y="36958"/>
                      <a:pt x="273894" y="22175"/>
                    </a:cubicBezTo>
                    <a:close/>
                    <a:moveTo>
                      <a:pt x="279986" y="240266"/>
                    </a:moveTo>
                    <a:cubicBezTo>
                      <a:pt x="269752" y="258786"/>
                      <a:pt x="255781" y="273163"/>
                      <a:pt x="238155" y="283397"/>
                    </a:cubicBezTo>
                    <a:cubicBezTo>
                      <a:pt x="220528" y="293631"/>
                      <a:pt x="200547" y="298749"/>
                      <a:pt x="178373" y="298749"/>
                    </a:cubicBezTo>
                    <a:cubicBezTo>
                      <a:pt x="156198" y="298749"/>
                      <a:pt x="136785" y="293631"/>
                      <a:pt x="118915" y="283397"/>
                    </a:cubicBezTo>
                    <a:cubicBezTo>
                      <a:pt x="101045" y="273163"/>
                      <a:pt x="87075" y="258786"/>
                      <a:pt x="77084" y="240266"/>
                    </a:cubicBezTo>
                    <a:cubicBezTo>
                      <a:pt x="67093" y="221747"/>
                      <a:pt x="62057" y="200465"/>
                      <a:pt x="62057" y="176504"/>
                    </a:cubicBezTo>
                    <a:cubicBezTo>
                      <a:pt x="62057" y="152542"/>
                      <a:pt x="67174" y="131423"/>
                      <a:pt x="77408" y="113067"/>
                    </a:cubicBezTo>
                    <a:cubicBezTo>
                      <a:pt x="87643" y="94709"/>
                      <a:pt x="101614" y="80495"/>
                      <a:pt x="119240" y="70260"/>
                    </a:cubicBezTo>
                    <a:cubicBezTo>
                      <a:pt x="136866" y="60026"/>
                      <a:pt x="156604" y="54909"/>
                      <a:pt x="178373" y="54909"/>
                    </a:cubicBezTo>
                    <a:cubicBezTo>
                      <a:pt x="200141" y="54909"/>
                      <a:pt x="220528" y="59945"/>
                      <a:pt x="238155" y="69936"/>
                    </a:cubicBezTo>
                    <a:cubicBezTo>
                      <a:pt x="255781" y="79926"/>
                      <a:pt x="269752" y="94222"/>
                      <a:pt x="279986" y="112742"/>
                    </a:cubicBezTo>
                    <a:cubicBezTo>
                      <a:pt x="290221" y="131261"/>
                      <a:pt x="295338" y="152542"/>
                      <a:pt x="295338" y="176504"/>
                    </a:cubicBezTo>
                    <a:cubicBezTo>
                      <a:pt x="295338" y="200465"/>
                      <a:pt x="290221" y="221747"/>
                      <a:pt x="279986" y="2402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8" name="Полилиния: фигура 67">
                <a:extLst>
                  <a:ext uri="{FF2B5EF4-FFF2-40B4-BE49-F238E27FC236}">
                    <a16:creationId xmlns:a16="http://schemas.microsoft.com/office/drawing/2014/main" id="{C2223409-151F-4777-9848-8B53001428CC}"/>
                  </a:ext>
                </a:extLst>
              </p:cNvPr>
              <p:cNvSpPr/>
              <p:nvPr/>
            </p:nvSpPr>
            <p:spPr>
              <a:xfrm>
                <a:off x="9805178" y="4167180"/>
                <a:ext cx="301347" cy="353738"/>
              </a:xfrm>
              <a:custGeom>
                <a:avLst/>
                <a:gdLst>
                  <a:gd name="connsiteX0" fmla="*/ 153029 w 301347"/>
                  <a:gd name="connsiteY0" fmla="*/ 244 h 353738"/>
                  <a:gd name="connsiteX1" fmla="*/ 73915 w 301347"/>
                  <a:gd name="connsiteY1" fmla="*/ 11697 h 353738"/>
                  <a:gd name="connsiteX2" fmla="*/ 9828 w 301347"/>
                  <a:gd name="connsiteY2" fmla="*/ 44674 h 353738"/>
                  <a:gd name="connsiteX3" fmla="*/ 35982 w 301347"/>
                  <a:gd name="connsiteY3" fmla="*/ 91704 h 353738"/>
                  <a:gd name="connsiteX4" fmla="*/ 85693 w 301347"/>
                  <a:gd name="connsiteY4" fmla="*/ 64574 h 353738"/>
                  <a:gd name="connsiteX5" fmla="*/ 145800 w 301347"/>
                  <a:gd name="connsiteY5" fmla="*/ 54421 h 353738"/>
                  <a:gd name="connsiteX6" fmla="*/ 215086 w 301347"/>
                  <a:gd name="connsiteY6" fmla="*/ 76027 h 353738"/>
                  <a:gd name="connsiteX7" fmla="*/ 238642 w 301347"/>
                  <a:gd name="connsiteY7" fmla="*/ 138084 h 353738"/>
                  <a:gd name="connsiteX8" fmla="*/ 238642 w 301347"/>
                  <a:gd name="connsiteY8" fmla="*/ 150512 h 353738"/>
                  <a:gd name="connsiteX9" fmla="*/ 139221 w 301347"/>
                  <a:gd name="connsiteY9" fmla="*/ 150512 h 353738"/>
                  <a:gd name="connsiteX10" fmla="*/ 33302 w 301347"/>
                  <a:gd name="connsiteY10" fmla="*/ 178291 h 353738"/>
                  <a:gd name="connsiteX11" fmla="*/ 0 w 301347"/>
                  <a:gd name="connsiteY11" fmla="*/ 251800 h 353738"/>
                  <a:gd name="connsiteX12" fmla="*/ 35008 w 301347"/>
                  <a:gd name="connsiteY12" fmla="*/ 325634 h 353738"/>
                  <a:gd name="connsiteX13" fmla="*/ 128175 w 301347"/>
                  <a:gd name="connsiteY13" fmla="*/ 353739 h 353738"/>
                  <a:gd name="connsiteX14" fmla="*/ 197135 w 301347"/>
                  <a:gd name="connsiteY14" fmla="*/ 340986 h 353738"/>
                  <a:gd name="connsiteX15" fmla="*/ 241891 w 301347"/>
                  <a:gd name="connsiteY15" fmla="*/ 304028 h 353738"/>
                  <a:gd name="connsiteX16" fmla="*/ 241891 w 301347"/>
                  <a:gd name="connsiteY16" fmla="*/ 349759 h 353738"/>
                  <a:gd name="connsiteX17" fmla="*/ 301348 w 301347"/>
                  <a:gd name="connsiteY17" fmla="*/ 349759 h 353738"/>
                  <a:gd name="connsiteX18" fmla="*/ 301348 w 301347"/>
                  <a:gd name="connsiteY18" fmla="*/ 140602 h 353738"/>
                  <a:gd name="connsiteX19" fmla="*/ 263091 w 301347"/>
                  <a:gd name="connsiteY19" fmla="*/ 35333 h 353738"/>
                  <a:gd name="connsiteX20" fmla="*/ 152948 w 301347"/>
                  <a:gd name="connsiteY20" fmla="*/ 0 h 353738"/>
                  <a:gd name="connsiteX21" fmla="*/ 238642 w 301347"/>
                  <a:gd name="connsiteY21" fmla="*/ 244003 h 353738"/>
                  <a:gd name="connsiteX22" fmla="*/ 200709 w 301347"/>
                  <a:gd name="connsiteY22" fmla="*/ 289408 h 353738"/>
                  <a:gd name="connsiteX23" fmla="*/ 138571 w 301347"/>
                  <a:gd name="connsiteY23" fmla="*/ 305409 h 353738"/>
                  <a:gd name="connsiteX24" fmla="*/ 82363 w 301347"/>
                  <a:gd name="connsiteY24" fmla="*/ 290382 h 353738"/>
                  <a:gd name="connsiteX25" fmla="*/ 62138 w 301347"/>
                  <a:gd name="connsiteY25" fmla="*/ 249201 h 353738"/>
                  <a:gd name="connsiteX26" fmla="*/ 141901 w 301347"/>
                  <a:gd name="connsiteY26" fmla="*/ 195592 h 353738"/>
                  <a:gd name="connsiteX27" fmla="*/ 238642 w 301347"/>
                  <a:gd name="connsiteY27" fmla="*/ 195592 h 353738"/>
                  <a:gd name="connsiteX28" fmla="*/ 238642 w 301347"/>
                  <a:gd name="connsiteY28" fmla="*/ 244003 h 353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01347" h="353738">
                    <a:moveTo>
                      <a:pt x="153029" y="244"/>
                    </a:moveTo>
                    <a:cubicBezTo>
                      <a:pt x="125169" y="244"/>
                      <a:pt x="98771" y="4061"/>
                      <a:pt x="73915" y="11697"/>
                    </a:cubicBezTo>
                    <a:cubicBezTo>
                      <a:pt x="49060" y="19332"/>
                      <a:pt x="27698" y="30297"/>
                      <a:pt x="9828" y="44674"/>
                    </a:cubicBezTo>
                    <a:lnTo>
                      <a:pt x="35982" y="91704"/>
                    </a:lnTo>
                    <a:cubicBezTo>
                      <a:pt x="49466" y="80414"/>
                      <a:pt x="66118" y="71316"/>
                      <a:pt x="85693" y="64574"/>
                    </a:cubicBezTo>
                    <a:cubicBezTo>
                      <a:pt x="105268" y="57833"/>
                      <a:pt x="125331" y="54421"/>
                      <a:pt x="145800" y="54421"/>
                    </a:cubicBezTo>
                    <a:cubicBezTo>
                      <a:pt x="176341" y="54421"/>
                      <a:pt x="199409" y="61650"/>
                      <a:pt x="215086" y="76027"/>
                    </a:cubicBezTo>
                    <a:cubicBezTo>
                      <a:pt x="230763" y="90404"/>
                      <a:pt x="238642" y="111117"/>
                      <a:pt x="238642" y="138084"/>
                    </a:cubicBezTo>
                    <a:lnTo>
                      <a:pt x="238642" y="150512"/>
                    </a:lnTo>
                    <a:lnTo>
                      <a:pt x="139221" y="150512"/>
                    </a:lnTo>
                    <a:cubicBezTo>
                      <a:pt x="90891" y="150512"/>
                      <a:pt x="55558" y="159771"/>
                      <a:pt x="33302" y="178291"/>
                    </a:cubicBezTo>
                    <a:cubicBezTo>
                      <a:pt x="11047" y="196810"/>
                      <a:pt x="0" y="221340"/>
                      <a:pt x="0" y="251800"/>
                    </a:cubicBezTo>
                    <a:cubicBezTo>
                      <a:pt x="0" y="282260"/>
                      <a:pt x="11696" y="306953"/>
                      <a:pt x="35008" y="325634"/>
                    </a:cubicBezTo>
                    <a:cubicBezTo>
                      <a:pt x="58320" y="344398"/>
                      <a:pt x="89430" y="353739"/>
                      <a:pt x="128175" y="353739"/>
                    </a:cubicBezTo>
                    <a:cubicBezTo>
                      <a:pt x="154735" y="353739"/>
                      <a:pt x="177722" y="349515"/>
                      <a:pt x="197135" y="340986"/>
                    </a:cubicBezTo>
                    <a:cubicBezTo>
                      <a:pt x="216548" y="332457"/>
                      <a:pt x="231494" y="320192"/>
                      <a:pt x="241891" y="304028"/>
                    </a:cubicBezTo>
                    <a:lnTo>
                      <a:pt x="241891" y="349759"/>
                    </a:lnTo>
                    <a:lnTo>
                      <a:pt x="301348" y="349759"/>
                    </a:lnTo>
                    <a:lnTo>
                      <a:pt x="301348" y="140602"/>
                    </a:lnTo>
                    <a:cubicBezTo>
                      <a:pt x="301348" y="93978"/>
                      <a:pt x="288596" y="58889"/>
                      <a:pt x="263091" y="35333"/>
                    </a:cubicBezTo>
                    <a:cubicBezTo>
                      <a:pt x="237586" y="11778"/>
                      <a:pt x="200871" y="0"/>
                      <a:pt x="152948" y="0"/>
                    </a:cubicBezTo>
                    <a:close/>
                    <a:moveTo>
                      <a:pt x="238642" y="244003"/>
                    </a:moveTo>
                    <a:cubicBezTo>
                      <a:pt x="230763" y="263578"/>
                      <a:pt x="218173" y="278767"/>
                      <a:pt x="200709" y="289408"/>
                    </a:cubicBezTo>
                    <a:cubicBezTo>
                      <a:pt x="183245" y="300129"/>
                      <a:pt x="162533" y="305409"/>
                      <a:pt x="138571" y="305409"/>
                    </a:cubicBezTo>
                    <a:cubicBezTo>
                      <a:pt x="114610" y="305409"/>
                      <a:pt x="95846" y="300454"/>
                      <a:pt x="82363" y="290382"/>
                    </a:cubicBezTo>
                    <a:cubicBezTo>
                      <a:pt x="68879" y="280311"/>
                      <a:pt x="62138" y="266583"/>
                      <a:pt x="62138" y="249201"/>
                    </a:cubicBezTo>
                    <a:cubicBezTo>
                      <a:pt x="62138" y="213462"/>
                      <a:pt x="88698" y="195592"/>
                      <a:pt x="141901" y="195592"/>
                    </a:cubicBezTo>
                    <a:lnTo>
                      <a:pt x="238642" y="195592"/>
                    </a:lnTo>
                    <a:lnTo>
                      <a:pt x="238642" y="244003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69" name="Полилиния: фигура 68">
                <a:extLst>
                  <a:ext uri="{FF2B5EF4-FFF2-40B4-BE49-F238E27FC236}">
                    <a16:creationId xmlns:a16="http://schemas.microsoft.com/office/drawing/2014/main" id="{2F389A25-BAFA-4505-8BCD-181B2D4B0CD5}"/>
                  </a:ext>
                </a:extLst>
              </p:cNvPr>
              <p:cNvSpPr/>
              <p:nvPr/>
            </p:nvSpPr>
            <p:spPr>
              <a:xfrm>
                <a:off x="10219674" y="4170673"/>
                <a:ext cx="369983" cy="429441"/>
              </a:xfrm>
              <a:custGeom>
                <a:avLst/>
                <a:gdLst>
                  <a:gd name="connsiteX0" fmla="*/ 315074 w 369983"/>
                  <a:gd name="connsiteY0" fmla="*/ 0 h 429441"/>
                  <a:gd name="connsiteX1" fmla="*/ 252287 w 369983"/>
                  <a:gd name="connsiteY1" fmla="*/ 0 h 429441"/>
                  <a:gd name="connsiteX2" fmla="*/ 252287 w 369983"/>
                  <a:gd name="connsiteY2" fmla="*/ 291520 h 429441"/>
                  <a:gd name="connsiteX3" fmla="*/ 62706 w 369983"/>
                  <a:gd name="connsiteY3" fmla="*/ 291520 h 429441"/>
                  <a:gd name="connsiteX4" fmla="*/ 62706 w 369983"/>
                  <a:gd name="connsiteY4" fmla="*/ 0 h 429441"/>
                  <a:gd name="connsiteX5" fmla="*/ 0 w 369983"/>
                  <a:gd name="connsiteY5" fmla="*/ 0 h 429441"/>
                  <a:gd name="connsiteX6" fmla="*/ 0 w 369983"/>
                  <a:gd name="connsiteY6" fmla="*/ 346428 h 429441"/>
                  <a:gd name="connsiteX7" fmla="*/ 310445 w 369983"/>
                  <a:gd name="connsiteY7" fmla="*/ 346428 h 429441"/>
                  <a:gd name="connsiteX8" fmla="*/ 310445 w 369983"/>
                  <a:gd name="connsiteY8" fmla="*/ 429441 h 429441"/>
                  <a:gd name="connsiteX9" fmla="*/ 369983 w 369983"/>
                  <a:gd name="connsiteY9" fmla="*/ 429441 h 429441"/>
                  <a:gd name="connsiteX10" fmla="*/ 369983 w 369983"/>
                  <a:gd name="connsiteY10" fmla="*/ 291520 h 429441"/>
                  <a:gd name="connsiteX11" fmla="*/ 315074 w 369983"/>
                  <a:gd name="connsiteY11" fmla="*/ 291520 h 429441"/>
                  <a:gd name="connsiteX12" fmla="*/ 315074 w 369983"/>
                  <a:gd name="connsiteY12" fmla="*/ 0 h 429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9983" h="429441">
                    <a:moveTo>
                      <a:pt x="315074" y="0"/>
                    </a:moveTo>
                    <a:lnTo>
                      <a:pt x="252287" y="0"/>
                    </a:lnTo>
                    <a:lnTo>
                      <a:pt x="252287" y="291520"/>
                    </a:lnTo>
                    <a:lnTo>
                      <a:pt x="62706" y="291520"/>
                    </a:lnTo>
                    <a:lnTo>
                      <a:pt x="62706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310445" y="346428"/>
                    </a:lnTo>
                    <a:lnTo>
                      <a:pt x="310445" y="429441"/>
                    </a:lnTo>
                    <a:lnTo>
                      <a:pt x="369983" y="429441"/>
                    </a:lnTo>
                    <a:lnTo>
                      <a:pt x="369983" y="291520"/>
                    </a:lnTo>
                    <a:lnTo>
                      <a:pt x="315074" y="291520"/>
                    </a:lnTo>
                    <a:lnTo>
                      <a:pt x="315074" y="0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70" name="Полилиния: фигура 69">
                <a:extLst>
                  <a:ext uri="{FF2B5EF4-FFF2-40B4-BE49-F238E27FC236}">
                    <a16:creationId xmlns:a16="http://schemas.microsoft.com/office/drawing/2014/main" id="{41A4C941-0759-4DB3-9249-EBD471C6373F}"/>
                  </a:ext>
                </a:extLst>
              </p:cNvPr>
              <p:cNvSpPr/>
              <p:nvPr/>
            </p:nvSpPr>
            <p:spPr>
              <a:xfrm>
                <a:off x="10670720" y="4170673"/>
                <a:ext cx="332051" cy="346428"/>
              </a:xfrm>
              <a:custGeom>
                <a:avLst/>
                <a:gdLst>
                  <a:gd name="connsiteX0" fmla="*/ 62707 w 332051"/>
                  <a:gd name="connsiteY0" fmla="*/ 252288 h 346428"/>
                  <a:gd name="connsiteX1" fmla="*/ 62707 w 332051"/>
                  <a:gd name="connsiteY1" fmla="*/ 0 h 346428"/>
                  <a:gd name="connsiteX2" fmla="*/ 0 w 332051"/>
                  <a:gd name="connsiteY2" fmla="*/ 0 h 346428"/>
                  <a:gd name="connsiteX3" fmla="*/ 0 w 332051"/>
                  <a:gd name="connsiteY3" fmla="*/ 346428 h 346428"/>
                  <a:gd name="connsiteX4" fmla="*/ 57509 w 332051"/>
                  <a:gd name="connsiteY4" fmla="*/ 346428 h 346428"/>
                  <a:gd name="connsiteX5" fmla="*/ 269264 w 332051"/>
                  <a:gd name="connsiteY5" fmla="*/ 94141 h 346428"/>
                  <a:gd name="connsiteX6" fmla="*/ 269264 w 332051"/>
                  <a:gd name="connsiteY6" fmla="*/ 346428 h 346428"/>
                  <a:gd name="connsiteX7" fmla="*/ 332051 w 332051"/>
                  <a:gd name="connsiteY7" fmla="*/ 346428 h 346428"/>
                  <a:gd name="connsiteX8" fmla="*/ 332051 w 332051"/>
                  <a:gd name="connsiteY8" fmla="*/ 0 h 346428"/>
                  <a:gd name="connsiteX9" fmla="*/ 275193 w 332051"/>
                  <a:gd name="connsiteY9" fmla="*/ 0 h 346428"/>
                  <a:gd name="connsiteX10" fmla="*/ 62707 w 332051"/>
                  <a:gd name="connsiteY10" fmla="*/ 25228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051" h="346428">
                    <a:moveTo>
                      <a:pt x="62707" y="252288"/>
                    </a:moveTo>
                    <a:lnTo>
                      <a:pt x="6270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9" y="346428"/>
                    </a:lnTo>
                    <a:lnTo>
                      <a:pt x="269264" y="94141"/>
                    </a:lnTo>
                    <a:lnTo>
                      <a:pt x="269264" y="346428"/>
                    </a:lnTo>
                    <a:lnTo>
                      <a:pt x="332051" y="346428"/>
                    </a:lnTo>
                    <a:lnTo>
                      <a:pt x="332051" y="0"/>
                    </a:lnTo>
                    <a:lnTo>
                      <a:pt x="275193" y="0"/>
                    </a:lnTo>
                    <a:lnTo>
                      <a:pt x="62707" y="25228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71" name="Полилиния: фигура 70">
                <a:extLst>
                  <a:ext uri="{FF2B5EF4-FFF2-40B4-BE49-F238E27FC236}">
                    <a16:creationId xmlns:a16="http://schemas.microsoft.com/office/drawing/2014/main" id="{29A484A0-F903-4045-9782-2555686C05B4}"/>
                  </a:ext>
                </a:extLst>
              </p:cNvPr>
              <p:cNvSpPr/>
              <p:nvPr/>
            </p:nvSpPr>
            <p:spPr>
              <a:xfrm>
                <a:off x="11124367" y="4170673"/>
                <a:ext cx="332131" cy="346428"/>
              </a:xfrm>
              <a:custGeom>
                <a:avLst/>
                <a:gdLst>
                  <a:gd name="connsiteX0" fmla="*/ 62787 w 332131"/>
                  <a:gd name="connsiteY0" fmla="*/ 252288 h 346428"/>
                  <a:gd name="connsiteX1" fmla="*/ 62787 w 332131"/>
                  <a:gd name="connsiteY1" fmla="*/ 0 h 346428"/>
                  <a:gd name="connsiteX2" fmla="*/ 0 w 332131"/>
                  <a:gd name="connsiteY2" fmla="*/ 0 h 346428"/>
                  <a:gd name="connsiteX3" fmla="*/ 0 w 332131"/>
                  <a:gd name="connsiteY3" fmla="*/ 346428 h 346428"/>
                  <a:gd name="connsiteX4" fmla="*/ 57508 w 332131"/>
                  <a:gd name="connsiteY4" fmla="*/ 346428 h 346428"/>
                  <a:gd name="connsiteX5" fmla="*/ 269344 w 332131"/>
                  <a:gd name="connsiteY5" fmla="*/ 94141 h 346428"/>
                  <a:gd name="connsiteX6" fmla="*/ 269344 w 332131"/>
                  <a:gd name="connsiteY6" fmla="*/ 346428 h 346428"/>
                  <a:gd name="connsiteX7" fmla="*/ 332132 w 332131"/>
                  <a:gd name="connsiteY7" fmla="*/ 346428 h 346428"/>
                  <a:gd name="connsiteX8" fmla="*/ 332132 w 332131"/>
                  <a:gd name="connsiteY8" fmla="*/ 0 h 346428"/>
                  <a:gd name="connsiteX9" fmla="*/ 275192 w 332131"/>
                  <a:gd name="connsiteY9" fmla="*/ 0 h 346428"/>
                  <a:gd name="connsiteX10" fmla="*/ 62787 w 332131"/>
                  <a:gd name="connsiteY10" fmla="*/ 252288 h 34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2131" h="346428">
                    <a:moveTo>
                      <a:pt x="62787" y="252288"/>
                    </a:moveTo>
                    <a:lnTo>
                      <a:pt x="62787" y="0"/>
                    </a:lnTo>
                    <a:lnTo>
                      <a:pt x="0" y="0"/>
                    </a:lnTo>
                    <a:lnTo>
                      <a:pt x="0" y="346428"/>
                    </a:lnTo>
                    <a:lnTo>
                      <a:pt x="57508" y="346428"/>
                    </a:lnTo>
                    <a:lnTo>
                      <a:pt x="269344" y="94141"/>
                    </a:lnTo>
                    <a:lnTo>
                      <a:pt x="269344" y="346428"/>
                    </a:lnTo>
                    <a:lnTo>
                      <a:pt x="332132" y="346428"/>
                    </a:lnTo>
                    <a:lnTo>
                      <a:pt x="332132" y="0"/>
                    </a:lnTo>
                    <a:lnTo>
                      <a:pt x="275192" y="0"/>
                    </a:lnTo>
                    <a:lnTo>
                      <a:pt x="62787" y="252288"/>
                    </a:lnTo>
                    <a:close/>
                  </a:path>
                </a:pathLst>
              </a:custGeom>
              <a:solidFill>
                <a:srgbClr val="FFFFFF"/>
              </a:solidFill>
              <a:ln w="81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grpSp>
            <p:nvGrpSpPr>
              <p:cNvPr id="72" name="Рисунок 14">
                <a:extLst>
                  <a:ext uri="{FF2B5EF4-FFF2-40B4-BE49-F238E27FC236}">
                    <a16:creationId xmlns:a16="http://schemas.microsoft.com/office/drawing/2014/main" id="{5B6A4839-CE55-45A9-A744-0FA9DBC896AB}"/>
                  </a:ext>
                </a:extLst>
              </p:cNvPr>
              <p:cNvGrpSpPr/>
              <p:nvPr/>
            </p:nvGrpSpPr>
            <p:grpSpPr>
              <a:xfrm>
                <a:off x="72" y="2084712"/>
                <a:ext cx="2721249" cy="2685489"/>
                <a:chOff x="72" y="2084712"/>
                <a:chExt cx="2721249" cy="2685489"/>
              </a:xfrm>
              <a:solidFill>
                <a:srgbClr val="FFFFFF"/>
              </a:solidFill>
            </p:grpSpPr>
            <p:grpSp>
              <p:nvGrpSpPr>
                <p:cNvPr id="73" name="Рисунок 14">
                  <a:extLst>
                    <a:ext uri="{FF2B5EF4-FFF2-40B4-BE49-F238E27FC236}">
                      <a16:creationId xmlns:a16="http://schemas.microsoft.com/office/drawing/2014/main" id="{E2736F37-2FE9-4B04-A3A3-A490A35E6835}"/>
                    </a:ext>
                  </a:extLst>
                </p:cNvPr>
                <p:cNvGrpSpPr/>
                <p:nvPr/>
              </p:nvGrpSpPr>
              <p:grpSpPr>
                <a:xfrm>
                  <a:off x="72" y="2220440"/>
                  <a:ext cx="2721249" cy="2549760"/>
                  <a:chOff x="72" y="2220440"/>
                  <a:chExt cx="2721249" cy="2549760"/>
                </a:xfrm>
                <a:solidFill>
                  <a:srgbClr val="FFFFFF"/>
                </a:solidFill>
              </p:grpSpPr>
              <p:sp>
                <p:nvSpPr>
                  <p:cNvPr id="74" name="Полилиния: фигура 73">
                    <a:extLst>
                      <a:ext uri="{FF2B5EF4-FFF2-40B4-BE49-F238E27FC236}">
                        <a16:creationId xmlns:a16="http://schemas.microsoft.com/office/drawing/2014/main" id="{7660D344-6997-4117-95FF-71CE6802E672}"/>
                      </a:ext>
                    </a:extLst>
                  </p:cNvPr>
                  <p:cNvSpPr/>
                  <p:nvPr/>
                </p:nvSpPr>
                <p:spPr>
                  <a:xfrm>
                    <a:off x="356409" y="3941610"/>
                    <a:ext cx="183613" cy="145624"/>
                  </a:xfrm>
                  <a:custGeom>
                    <a:avLst/>
                    <a:gdLst>
                      <a:gd name="connsiteX0" fmla="*/ 183092 w 183613"/>
                      <a:gd name="connsiteY0" fmla="*/ 58895 h 145624"/>
                      <a:gd name="connsiteX1" fmla="*/ 179193 w 183613"/>
                      <a:gd name="connsiteY1" fmla="*/ 44680 h 145624"/>
                      <a:gd name="connsiteX2" fmla="*/ 82210 w 183613"/>
                      <a:gd name="connsiteY2" fmla="*/ 1305 h 145624"/>
                      <a:gd name="connsiteX3" fmla="*/ 19179 w 183613"/>
                      <a:gd name="connsiteY3" fmla="*/ 33471 h 145624"/>
                      <a:gd name="connsiteX4" fmla="*/ 19179 w 183613"/>
                      <a:gd name="connsiteY4" fmla="*/ 33471 h 145624"/>
                      <a:gd name="connsiteX5" fmla="*/ 497 w 183613"/>
                      <a:gd name="connsiteY5" fmla="*/ 86674 h 145624"/>
                      <a:gd name="connsiteX6" fmla="*/ 497 w 183613"/>
                      <a:gd name="connsiteY6" fmla="*/ 86836 h 145624"/>
                      <a:gd name="connsiteX7" fmla="*/ 4395 w 183613"/>
                      <a:gd name="connsiteY7" fmla="*/ 100888 h 145624"/>
                      <a:gd name="connsiteX8" fmla="*/ 101379 w 183613"/>
                      <a:gd name="connsiteY8" fmla="*/ 144344 h 145624"/>
                      <a:gd name="connsiteX9" fmla="*/ 183092 w 183613"/>
                      <a:gd name="connsiteY9" fmla="*/ 58895 h 1456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83613" h="145624">
                        <a:moveTo>
                          <a:pt x="183092" y="58895"/>
                        </a:moveTo>
                        <a:cubicBezTo>
                          <a:pt x="182361" y="54021"/>
                          <a:pt x="181062" y="49229"/>
                          <a:pt x="179193" y="44680"/>
                        </a:cubicBezTo>
                        <a:cubicBezTo>
                          <a:pt x="165872" y="13083"/>
                          <a:pt x="125097" y="-5193"/>
                          <a:pt x="82210" y="1305"/>
                        </a:cubicBezTo>
                        <a:cubicBezTo>
                          <a:pt x="57111" y="5042"/>
                          <a:pt x="34693" y="16495"/>
                          <a:pt x="19179" y="33471"/>
                        </a:cubicBezTo>
                        <a:lnTo>
                          <a:pt x="19179" y="33471"/>
                        </a:lnTo>
                        <a:cubicBezTo>
                          <a:pt x="4639" y="49391"/>
                          <a:pt x="-1940" y="68235"/>
                          <a:pt x="497" y="86674"/>
                        </a:cubicBezTo>
                        <a:lnTo>
                          <a:pt x="497" y="86836"/>
                        </a:lnTo>
                        <a:cubicBezTo>
                          <a:pt x="1228" y="91710"/>
                          <a:pt x="2527" y="96421"/>
                          <a:pt x="4395" y="100888"/>
                        </a:cubicBezTo>
                        <a:cubicBezTo>
                          <a:pt x="17716" y="132566"/>
                          <a:pt x="58573" y="150761"/>
                          <a:pt x="101379" y="144344"/>
                        </a:cubicBezTo>
                        <a:cubicBezTo>
                          <a:pt x="151820" y="136790"/>
                          <a:pt x="188453" y="98451"/>
                          <a:pt x="183092" y="588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75" name="Полилиния: фигура 74">
                    <a:extLst>
                      <a:ext uri="{FF2B5EF4-FFF2-40B4-BE49-F238E27FC236}">
                        <a16:creationId xmlns:a16="http://schemas.microsoft.com/office/drawing/2014/main" id="{5C618507-999D-45BF-821B-441A774EB68C}"/>
                      </a:ext>
                    </a:extLst>
                  </p:cNvPr>
                  <p:cNvSpPr/>
                  <p:nvPr/>
                </p:nvSpPr>
                <p:spPr>
                  <a:xfrm>
                    <a:off x="472409" y="4012763"/>
                    <a:ext cx="179963" cy="145650"/>
                  </a:xfrm>
                  <a:custGeom>
                    <a:avLst/>
                    <a:gdLst>
                      <a:gd name="connsiteX0" fmla="*/ 179509 w 179963"/>
                      <a:gd name="connsiteY0" fmla="*/ 58896 h 145650"/>
                      <a:gd name="connsiteX1" fmla="*/ 175610 w 179963"/>
                      <a:gd name="connsiteY1" fmla="*/ 44681 h 145650"/>
                      <a:gd name="connsiteX2" fmla="*/ 94547 w 179963"/>
                      <a:gd name="connsiteY2" fmla="*/ 7 h 145650"/>
                      <a:gd name="connsiteX3" fmla="*/ 0 w 179963"/>
                      <a:gd name="connsiteY3" fmla="*/ 97965 h 145650"/>
                      <a:gd name="connsiteX4" fmla="*/ 812 w 179963"/>
                      <a:gd name="connsiteY4" fmla="*/ 100971 h 145650"/>
                      <a:gd name="connsiteX5" fmla="*/ 97796 w 179963"/>
                      <a:gd name="connsiteY5" fmla="*/ 144345 h 145650"/>
                      <a:gd name="connsiteX6" fmla="*/ 179428 w 179963"/>
                      <a:gd name="connsiteY6" fmla="*/ 58896 h 145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79963" h="145650">
                        <a:moveTo>
                          <a:pt x="179509" y="58896"/>
                        </a:moveTo>
                        <a:cubicBezTo>
                          <a:pt x="178859" y="54022"/>
                          <a:pt x="177479" y="49230"/>
                          <a:pt x="175610" y="44681"/>
                        </a:cubicBezTo>
                        <a:cubicBezTo>
                          <a:pt x="163995" y="17064"/>
                          <a:pt x="131342" y="-399"/>
                          <a:pt x="94547" y="7"/>
                        </a:cubicBezTo>
                        <a:cubicBezTo>
                          <a:pt x="92029" y="45331"/>
                          <a:pt x="53284" y="85700"/>
                          <a:pt x="0" y="97965"/>
                        </a:cubicBezTo>
                        <a:cubicBezTo>
                          <a:pt x="325" y="98940"/>
                          <a:pt x="406" y="99996"/>
                          <a:pt x="812" y="100971"/>
                        </a:cubicBezTo>
                        <a:cubicBezTo>
                          <a:pt x="14052" y="132568"/>
                          <a:pt x="54990" y="150843"/>
                          <a:pt x="97796" y="144345"/>
                        </a:cubicBezTo>
                        <a:cubicBezTo>
                          <a:pt x="148237" y="136791"/>
                          <a:pt x="184870" y="98453"/>
                          <a:pt x="179428" y="5889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76" name="Полилиния: фигура 75">
                    <a:extLst>
                      <a:ext uri="{FF2B5EF4-FFF2-40B4-BE49-F238E27FC236}">
                        <a16:creationId xmlns:a16="http://schemas.microsoft.com/office/drawing/2014/main" id="{FDA6AA68-4B78-4805-8E51-80F6CF5C9EE0}"/>
                      </a:ext>
                    </a:extLst>
                  </p:cNvPr>
                  <p:cNvSpPr/>
                  <p:nvPr/>
                </p:nvSpPr>
                <p:spPr>
                  <a:xfrm>
                    <a:off x="541045" y="3907114"/>
                    <a:ext cx="168971" cy="129942"/>
                  </a:xfrm>
                  <a:custGeom>
                    <a:avLst/>
                    <a:gdLst>
                      <a:gd name="connsiteX0" fmla="*/ 168544 w 168971"/>
                      <a:gd name="connsiteY0" fmla="*/ 58870 h 129942"/>
                      <a:gd name="connsiteX1" fmla="*/ 164645 w 168971"/>
                      <a:gd name="connsiteY1" fmla="*/ 44655 h 129942"/>
                      <a:gd name="connsiteX2" fmla="*/ 67661 w 168971"/>
                      <a:gd name="connsiteY2" fmla="*/ 1281 h 129942"/>
                      <a:gd name="connsiteX3" fmla="*/ 4630 w 168971"/>
                      <a:gd name="connsiteY3" fmla="*/ 33446 h 129942"/>
                      <a:gd name="connsiteX4" fmla="*/ 4630 w 168971"/>
                      <a:gd name="connsiteY4" fmla="*/ 33446 h 129942"/>
                      <a:gd name="connsiteX5" fmla="*/ 0 w 168971"/>
                      <a:gd name="connsiteY5" fmla="*/ 39538 h 129942"/>
                      <a:gd name="connsiteX6" fmla="*/ 19900 w 168971"/>
                      <a:gd name="connsiteY6" fmla="*/ 68455 h 129942"/>
                      <a:gd name="connsiteX7" fmla="*/ 22581 w 168971"/>
                      <a:gd name="connsiteY7" fmla="*/ 78364 h 129942"/>
                      <a:gd name="connsiteX8" fmla="*/ 127118 w 168971"/>
                      <a:gd name="connsiteY8" fmla="*/ 129943 h 129942"/>
                      <a:gd name="connsiteX9" fmla="*/ 168462 w 168971"/>
                      <a:gd name="connsiteY9" fmla="*/ 58870 h 1299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68971" h="129942">
                        <a:moveTo>
                          <a:pt x="168544" y="58870"/>
                        </a:moveTo>
                        <a:cubicBezTo>
                          <a:pt x="167813" y="53996"/>
                          <a:pt x="166513" y="49204"/>
                          <a:pt x="164645" y="44655"/>
                        </a:cubicBezTo>
                        <a:cubicBezTo>
                          <a:pt x="151405" y="13059"/>
                          <a:pt x="110467" y="-5136"/>
                          <a:pt x="67661" y="1281"/>
                        </a:cubicBezTo>
                        <a:cubicBezTo>
                          <a:pt x="42562" y="5017"/>
                          <a:pt x="20144" y="16470"/>
                          <a:pt x="4630" y="33446"/>
                        </a:cubicBezTo>
                        <a:lnTo>
                          <a:pt x="4630" y="33446"/>
                        </a:lnTo>
                        <a:cubicBezTo>
                          <a:pt x="2843" y="35396"/>
                          <a:pt x="1543" y="37507"/>
                          <a:pt x="0" y="39538"/>
                        </a:cubicBezTo>
                        <a:cubicBezTo>
                          <a:pt x="8529" y="47904"/>
                          <a:pt x="15352" y="57570"/>
                          <a:pt x="19900" y="68455"/>
                        </a:cubicBezTo>
                        <a:cubicBezTo>
                          <a:pt x="21200" y="71622"/>
                          <a:pt x="21687" y="75034"/>
                          <a:pt x="22581" y="78364"/>
                        </a:cubicBezTo>
                        <a:cubicBezTo>
                          <a:pt x="67093" y="77146"/>
                          <a:pt x="107868" y="97127"/>
                          <a:pt x="127118" y="129943"/>
                        </a:cubicBezTo>
                        <a:cubicBezTo>
                          <a:pt x="155060" y="113616"/>
                          <a:pt x="172199" y="86649"/>
                          <a:pt x="168462" y="5887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77" name="Полилиния: фигура 76">
                    <a:extLst>
                      <a:ext uri="{FF2B5EF4-FFF2-40B4-BE49-F238E27FC236}">
                        <a16:creationId xmlns:a16="http://schemas.microsoft.com/office/drawing/2014/main" id="{A1453F73-6CF7-441E-938F-926EA751E313}"/>
                      </a:ext>
                    </a:extLst>
                  </p:cNvPr>
                  <p:cNvSpPr/>
                  <p:nvPr/>
                </p:nvSpPr>
                <p:spPr>
                  <a:xfrm>
                    <a:off x="1724505" y="2874552"/>
                    <a:ext cx="138814" cy="79845"/>
                  </a:xfrm>
                  <a:custGeom>
                    <a:avLst/>
                    <a:gdLst>
                      <a:gd name="connsiteX0" fmla="*/ 138815 w 138814"/>
                      <a:gd name="connsiteY0" fmla="*/ 79764 h 79845"/>
                      <a:gd name="connsiteX1" fmla="*/ 0 w 138814"/>
                      <a:gd name="connsiteY1" fmla="*/ 54178 h 79845"/>
                      <a:gd name="connsiteX2" fmla="*/ 92354 w 138814"/>
                      <a:gd name="connsiteY2" fmla="*/ 0 h 79845"/>
                      <a:gd name="connsiteX3" fmla="*/ 138815 w 138814"/>
                      <a:gd name="connsiteY3" fmla="*/ 79845 h 79845"/>
                      <a:gd name="connsiteX4" fmla="*/ 138815 w 138814"/>
                      <a:gd name="connsiteY4" fmla="*/ 79845 h 798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814" h="79845">
                        <a:moveTo>
                          <a:pt x="138815" y="79764"/>
                        </a:moveTo>
                        <a:cubicBezTo>
                          <a:pt x="96253" y="42481"/>
                          <a:pt x="35090" y="43293"/>
                          <a:pt x="0" y="54178"/>
                        </a:cubicBezTo>
                        <a:cubicBezTo>
                          <a:pt x="22987" y="25911"/>
                          <a:pt x="76596" y="2762"/>
                          <a:pt x="92354" y="0"/>
                        </a:cubicBezTo>
                        <a:cubicBezTo>
                          <a:pt x="104375" y="4467"/>
                          <a:pt x="138815" y="39963"/>
                          <a:pt x="138815" y="79845"/>
                        </a:cubicBezTo>
                        <a:lnTo>
                          <a:pt x="138815" y="798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78" name="Полилиния: фигура 77">
                    <a:extLst>
                      <a:ext uri="{FF2B5EF4-FFF2-40B4-BE49-F238E27FC236}">
                        <a16:creationId xmlns:a16="http://schemas.microsoft.com/office/drawing/2014/main" id="{7541E5D1-69F5-4388-8DD3-0189DB63518D}"/>
                      </a:ext>
                    </a:extLst>
                  </p:cNvPr>
                  <p:cNvSpPr/>
                  <p:nvPr/>
                </p:nvSpPr>
                <p:spPr>
                  <a:xfrm>
                    <a:off x="723879" y="2685783"/>
                    <a:ext cx="1276479" cy="657604"/>
                  </a:xfrm>
                  <a:custGeom>
                    <a:avLst/>
                    <a:gdLst>
                      <a:gd name="connsiteX0" fmla="*/ 1275332 w 1276479"/>
                      <a:gd name="connsiteY0" fmla="*/ 114041 h 657604"/>
                      <a:gd name="connsiteX1" fmla="*/ 724377 w 1276479"/>
                      <a:gd name="connsiteY1" fmla="*/ 0 h 657604"/>
                      <a:gd name="connsiteX2" fmla="*/ 833057 w 1276479"/>
                      <a:gd name="connsiteY2" fmla="*/ 139384 h 657604"/>
                      <a:gd name="connsiteX3" fmla="*/ 638359 w 1276479"/>
                      <a:gd name="connsiteY3" fmla="*/ 584501 h 657604"/>
                      <a:gd name="connsiteX4" fmla="*/ 443661 w 1276479"/>
                      <a:gd name="connsiteY4" fmla="*/ 139384 h 657604"/>
                      <a:gd name="connsiteX5" fmla="*/ 552341 w 1276479"/>
                      <a:gd name="connsiteY5" fmla="*/ 0 h 657604"/>
                      <a:gd name="connsiteX6" fmla="*/ 1305 w 1276479"/>
                      <a:gd name="connsiteY6" fmla="*/ 114041 h 657604"/>
                      <a:gd name="connsiteX7" fmla="*/ 27135 w 1276479"/>
                      <a:gd name="connsiteY7" fmla="*/ 207857 h 657604"/>
                      <a:gd name="connsiteX8" fmla="*/ 93902 w 1276479"/>
                      <a:gd name="connsiteY8" fmla="*/ 157659 h 657604"/>
                      <a:gd name="connsiteX9" fmla="*/ 358861 w 1276479"/>
                      <a:gd name="connsiteY9" fmla="*/ 651025 h 657604"/>
                      <a:gd name="connsiteX10" fmla="*/ 361460 w 1276479"/>
                      <a:gd name="connsiteY10" fmla="*/ 657605 h 657604"/>
                      <a:gd name="connsiteX11" fmla="*/ 915096 w 1276479"/>
                      <a:gd name="connsiteY11" fmla="*/ 657605 h 657604"/>
                      <a:gd name="connsiteX12" fmla="*/ 917695 w 1276479"/>
                      <a:gd name="connsiteY12" fmla="*/ 651025 h 657604"/>
                      <a:gd name="connsiteX13" fmla="*/ 1182572 w 1276479"/>
                      <a:gd name="connsiteY13" fmla="*/ 157659 h 657604"/>
                      <a:gd name="connsiteX14" fmla="*/ 1249421 w 1276479"/>
                      <a:gd name="connsiteY14" fmla="*/ 207857 h 657604"/>
                      <a:gd name="connsiteX15" fmla="*/ 1275170 w 1276479"/>
                      <a:gd name="connsiteY15" fmla="*/ 114041 h 657604"/>
                      <a:gd name="connsiteX16" fmla="*/ 1275170 w 1276479"/>
                      <a:gd name="connsiteY16" fmla="*/ 114041 h 6576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276479" h="657604">
                        <a:moveTo>
                          <a:pt x="1275332" y="114041"/>
                        </a:moveTo>
                        <a:cubicBezTo>
                          <a:pt x="1247391" y="-35658"/>
                          <a:pt x="899500" y="63519"/>
                          <a:pt x="724377" y="0"/>
                        </a:cubicBezTo>
                        <a:cubicBezTo>
                          <a:pt x="721047" y="43618"/>
                          <a:pt x="778311" y="113554"/>
                          <a:pt x="833057" y="139384"/>
                        </a:cubicBezTo>
                        <a:cubicBezTo>
                          <a:pt x="739404" y="220691"/>
                          <a:pt x="655335" y="384442"/>
                          <a:pt x="638359" y="584501"/>
                        </a:cubicBezTo>
                        <a:cubicBezTo>
                          <a:pt x="621464" y="384442"/>
                          <a:pt x="537395" y="220691"/>
                          <a:pt x="443661" y="139384"/>
                        </a:cubicBezTo>
                        <a:cubicBezTo>
                          <a:pt x="498488" y="113473"/>
                          <a:pt x="555752" y="43618"/>
                          <a:pt x="552341" y="0"/>
                        </a:cubicBezTo>
                        <a:cubicBezTo>
                          <a:pt x="377218" y="63600"/>
                          <a:pt x="29328" y="-35577"/>
                          <a:pt x="1305" y="114041"/>
                        </a:cubicBezTo>
                        <a:cubicBezTo>
                          <a:pt x="-4625" y="145719"/>
                          <a:pt x="10646" y="193967"/>
                          <a:pt x="27135" y="207857"/>
                        </a:cubicBezTo>
                        <a:cubicBezTo>
                          <a:pt x="30059" y="197785"/>
                          <a:pt x="45492" y="164970"/>
                          <a:pt x="93902" y="157659"/>
                        </a:cubicBezTo>
                        <a:cubicBezTo>
                          <a:pt x="338961" y="120620"/>
                          <a:pt x="543568" y="498321"/>
                          <a:pt x="358861" y="651025"/>
                        </a:cubicBezTo>
                        <a:cubicBezTo>
                          <a:pt x="356018" y="653381"/>
                          <a:pt x="357642" y="657605"/>
                          <a:pt x="361460" y="657605"/>
                        </a:cubicBezTo>
                        <a:lnTo>
                          <a:pt x="915096" y="657605"/>
                        </a:lnTo>
                        <a:cubicBezTo>
                          <a:pt x="918832" y="657605"/>
                          <a:pt x="920456" y="653300"/>
                          <a:pt x="917695" y="651025"/>
                        </a:cubicBezTo>
                        <a:cubicBezTo>
                          <a:pt x="732987" y="498321"/>
                          <a:pt x="937595" y="120620"/>
                          <a:pt x="1182572" y="157659"/>
                        </a:cubicBezTo>
                        <a:cubicBezTo>
                          <a:pt x="1231064" y="165051"/>
                          <a:pt x="1246416" y="197866"/>
                          <a:pt x="1249421" y="207857"/>
                        </a:cubicBezTo>
                        <a:cubicBezTo>
                          <a:pt x="1265910" y="193967"/>
                          <a:pt x="1281099" y="145719"/>
                          <a:pt x="1275170" y="114041"/>
                        </a:cubicBezTo>
                        <a:lnTo>
                          <a:pt x="1275170" y="11404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79" name="Полилиния: фигура 78">
                    <a:extLst>
                      <a:ext uri="{FF2B5EF4-FFF2-40B4-BE49-F238E27FC236}">
                        <a16:creationId xmlns:a16="http://schemas.microsoft.com/office/drawing/2014/main" id="{C66F5FFC-93CD-459D-AEFE-061D2C8C616D}"/>
                      </a:ext>
                    </a:extLst>
                  </p:cNvPr>
                  <p:cNvSpPr/>
                  <p:nvPr/>
                </p:nvSpPr>
                <p:spPr>
                  <a:xfrm>
                    <a:off x="1899918" y="2351710"/>
                    <a:ext cx="398638" cy="381996"/>
                  </a:xfrm>
                  <a:custGeom>
                    <a:avLst/>
                    <a:gdLst>
                      <a:gd name="connsiteX0" fmla="*/ 158832 w 398638"/>
                      <a:gd name="connsiteY0" fmla="*/ 104610 h 381996"/>
                      <a:gd name="connsiteX1" fmla="*/ 298134 w 398638"/>
                      <a:gd name="connsiteY1" fmla="*/ 180069 h 381996"/>
                      <a:gd name="connsiteX2" fmla="*/ 212197 w 398638"/>
                      <a:gd name="connsiteY2" fmla="*/ 331474 h 381996"/>
                      <a:gd name="connsiteX3" fmla="*/ 253135 w 398638"/>
                      <a:gd name="connsiteY3" fmla="*/ 381996 h 381996"/>
                      <a:gd name="connsiteX4" fmla="*/ 347276 w 398638"/>
                      <a:gd name="connsiteY4" fmla="*/ 352917 h 381996"/>
                      <a:gd name="connsiteX5" fmla="*/ 397880 w 398638"/>
                      <a:gd name="connsiteY5" fmla="*/ 156838 h 381996"/>
                      <a:gd name="connsiteX6" fmla="*/ 259389 w 398638"/>
                      <a:gd name="connsiteY6" fmla="*/ 104691 h 381996"/>
                      <a:gd name="connsiteX7" fmla="*/ 76550 w 398638"/>
                      <a:gd name="connsiteY7" fmla="*/ 65865 h 381996"/>
                      <a:gd name="connsiteX8" fmla="*/ 198 w 398638"/>
                      <a:gd name="connsiteY8" fmla="*/ 271773 h 381996"/>
                      <a:gd name="connsiteX9" fmla="*/ 604 w 398638"/>
                      <a:gd name="connsiteY9" fmla="*/ 291186 h 381996"/>
                      <a:gd name="connsiteX10" fmla="*/ 158913 w 398638"/>
                      <a:gd name="connsiteY10" fmla="*/ 104772 h 381996"/>
                      <a:gd name="connsiteX11" fmla="*/ 158913 w 398638"/>
                      <a:gd name="connsiteY11" fmla="*/ 104772 h 3819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398638" h="381996">
                        <a:moveTo>
                          <a:pt x="158832" y="104610"/>
                        </a:moveTo>
                        <a:cubicBezTo>
                          <a:pt x="154446" y="90476"/>
                          <a:pt x="298134" y="90152"/>
                          <a:pt x="298134" y="180069"/>
                        </a:cubicBezTo>
                        <a:cubicBezTo>
                          <a:pt x="298134" y="240338"/>
                          <a:pt x="212197" y="268930"/>
                          <a:pt x="212197" y="331474"/>
                        </a:cubicBezTo>
                        <a:cubicBezTo>
                          <a:pt x="212197" y="360634"/>
                          <a:pt x="243551" y="381996"/>
                          <a:pt x="253135" y="381996"/>
                        </a:cubicBezTo>
                        <a:cubicBezTo>
                          <a:pt x="230960" y="281601"/>
                          <a:pt x="322502" y="334154"/>
                          <a:pt x="347276" y="352917"/>
                        </a:cubicBezTo>
                        <a:cubicBezTo>
                          <a:pt x="298134" y="217839"/>
                          <a:pt x="408764" y="218732"/>
                          <a:pt x="397880" y="156838"/>
                        </a:cubicBezTo>
                        <a:cubicBezTo>
                          <a:pt x="390326" y="113545"/>
                          <a:pt x="294235" y="126622"/>
                          <a:pt x="259389" y="104691"/>
                        </a:cubicBezTo>
                        <a:cubicBezTo>
                          <a:pt x="197658" y="65865"/>
                          <a:pt x="124636" y="-85378"/>
                          <a:pt x="76550" y="65865"/>
                        </a:cubicBezTo>
                        <a:cubicBezTo>
                          <a:pt x="166223" y="149122"/>
                          <a:pt x="114076" y="271773"/>
                          <a:pt x="198" y="271773"/>
                        </a:cubicBezTo>
                        <a:cubicBezTo>
                          <a:pt x="198" y="271773"/>
                          <a:pt x="-452" y="289724"/>
                          <a:pt x="604" y="291186"/>
                        </a:cubicBezTo>
                        <a:cubicBezTo>
                          <a:pt x="136414" y="284525"/>
                          <a:pt x="183768" y="184698"/>
                          <a:pt x="158913" y="104772"/>
                        </a:cubicBezTo>
                        <a:lnTo>
                          <a:pt x="158913" y="1047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0" name="Полилиния: фигура 79">
                    <a:extLst>
                      <a:ext uri="{FF2B5EF4-FFF2-40B4-BE49-F238E27FC236}">
                        <a16:creationId xmlns:a16="http://schemas.microsoft.com/office/drawing/2014/main" id="{1C16F6B8-11B0-4E0D-AFFD-2E20626FAE90}"/>
                      </a:ext>
                    </a:extLst>
                  </p:cNvPr>
                  <p:cNvSpPr/>
                  <p:nvPr/>
                </p:nvSpPr>
                <p:spPr>
                  <a:xfrm>
                    <a:off x="422752" y="2351502"/>
                    <a:ext cx="398653" cy="382122"/>
                  </a:xfrm>
                  <a:custGeom>
                    <a:avLst/>
                    <a:gdLst>
                      <a:gd name="connsiteX0" fmla="*/ 51282 w 398653"/>
                      <a:gd name="connsiteY0" fmla="*/ 353044 h 382122"/>
                      <a:gd name="connsiteX1" fmla="*/ 145422 w 398653"/>
                      <a:gd name="connsiteY1" fmla="*/ 382122 h 382122"/>
                      <a:gd name="connsiteX2" fmla="*/ 186360 w 398653"/>
                      <a:gd name="connsiteY2" fmla="*/ 331600 h 382122"/>
                      <a:gd name="connsiteX3" fmla="*/ 100423 w 398653"/>
                      <a:gd name="connsiteY3" fmla="*/ 180195 h 382122"/>
                      <a:gd name="connsiteX4" fmla="*/ 239726 w 398653"/>
                      <a:gd name="connsiteY4" fmla="*/ 104736 h 382122"/>
                      <a:gd name="connsiteX5" fmla="*/ 398116 w 398653"/>
                      <a:gd name="connsiteY5" fmla="*/ 291150 h 382122"/>
                      <a:gd name="connsiteX6" fmla="*/ 398441 w 398653"/>
                      <a:gd name="connsiteY6" fmla="*/ 271737 h 382122"/>
                      <a:gd name="connsiteX7" fmla="*/ 322089 w 398653"/>
                      <a:gd name="connsiteY7" fmla="*/ 65829 h 382122"/>
                      <a:gd name="connsiteX8" fmla="*/ 139249 w 398653"/>
                      <a:gd name="connsiteY8" fmla="*/ 104655 h 382122"/>
                      <a:gd name="connsiteX9" fmla="*/ 759 w 398653"/>
                      <a:gd name="connsiteY9" fmla="*/ 156802 h 382122"/>
                      <a:gd name="connsiteX10" fmla="*/ 51363 w 398653"/>
                      <a:gd name="connsiteY10" fmla="*/ 352881 h 382122"/>
                      <a:gd name="connsiteX11" fmla="*/ 51363 w 398653"/>
                      <a:gd name="connsiteY11" fmla="*/ 352881 h 3821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398653" h="382122">
                        <a:moveTo>
                          <a:pt x="51282" y="353044"/>
                        </a:moveTo>
                        <a:cubicBezTo>
                          <a:pt x="75974" y="334280"/>
                          <a:pt x="167516" y="281727"/>
                          <a:pt x="145422" y="382122"/>
                        </a:cubicBezTo>
                        <a:cubicBezTo>
                          <a:pt x="155007" y="382122"/>
                          <a:pt x="186360" y="360760"/>
                          <a:pt x="186360" y="331600"/>
                        </a:cubicBezTo>
                        <a:cubicBezTo>
                          <a:pt x="186360" y="269056"/>
                          <a:pt x="100423" y="240546"/>
                          <a:pt x="100423" y="180195"/>
                        </a:cubicBezTo>
                        <a:cubicBezTo>
                          <a:pt x="100423" y="90278"/>
                          <a:pt x="244112" y="90603"/>
                          <a:pt x="239726" y="104736"/>
                        </a:cubicBezTo>
                        <a:cubicBezTo>
                          <a:pt x="214952" y="184662"/>
                          <a:pt x="262306" y="284489"/>
                          <a:pt x="398116" y="291150"/>
                        </a:cubicBezTo>
                        <a:cubicBezTo>
                          <a:pt x="399091" y="289687"/>
                          <a:pt x="398441" y="271737"/>
                          <a:pt x="398441" y="271737"/>
                        </a:cubicBezTo>
                        <a:cubicBezTo>
                          <a:pt x="284562" y="271737"/>
                          <a:pt x="232415" y="149167"/>
                          <a:pt x="322089" y="65829"/>
                        </a:cubicBezTo>
                        <a:cubicBezTo>
                          <a:pt x="274003" y="-85332"/>
                          <a:pt x="200981" y="65829"/>
                          <a:pt x="139249" y="104655"/>
                        </a:cubicBezTo>
                        <a:cubicBezTo>
                          <a:pt x="104485" y="126586"/>
                          <a:pt x="8394" y="113509"/>
                          <a:pt x="759" y="156802"/>
                        </a:cubicBezTo>
                        <a:cubicBezTo>
                          <a:pt x="-10125" y="218696"/>
                          <a:pt x="100423" y="217884"/>
                          <a:pt x="51363" y="352881"/>
                        </a:cubicBezTo>
                        <a:lnTo>
                          <a:pt x="51363" y="35288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1" name="Полилиния: фигура 80">
                    <a:extLst>
                      <a:ext uri="{FF2B5EF4-FFF2-40B4-BE49-F238E27FC236}">
                        <a16:creationId xmlns:a16="http://schemas.microsoft.com/office/drawing/2014/main" id="{749823BA-BFA6-435E-92D9-A915862A5BDB}"/>
                      </a:ext>
                    </a:extLst>
                  </p:cNvPr>
                  <p:cNvSpPr/>
                  <p:nvPr/>
                </p:nvSpPr>
                <p:spPr>
                  <a:xfrm>
                    <a:off x="859694" y="2874552"/>
                    <a:ext cx="138815" cy="79845"/>
                  </a:xfrm>
                  <a:custGeom>
                    <a:avLst/>
                    <a:gdLst>
                      <a:gd name="connsiteX0" fmla="*/ 0 w 138815"/>
                      <a:gd name="connsiteY0" fmla="*/ 79764 h 79845"/>
                      <a:gd name="connsiteX1" fmla="*/ 138815 w 138815"/>
                      <a:gd name="connsiteY1" fmla="*/ 54178 h 79845"/>
                      <a:gd name="connsiteX2" fmla="*/ 46542 w 138815"/>
                      <a:gd name="connsiteY2" fmla="*/ 0 h 79845"/>
                      <a:gd name="connsiteX3" fmla="*/ 0 w 138815"/>
                      <a:gd name="connsiteY3" fmla="*/ 79845 h 79845"/>
                      <a:gd name="connsiteX4" fmla="*/ 0 w 138815"/>
                      <a:gd name="connsiteY4" fmla="*/ 79845 h 798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815" h="79845">
                        <a:moveTo>
                          <a:pt x="0" y="79764"/>
                        </a:moveTo>
                        <a:cubicBezTo>
                          <a:pt x="42562" y="42481"/>
                          <a:pt x="103807" y="43293"/>
                          <a:pt x="138815" y="54178"/>
                        </a:cubicBezTo>
                        <a:cubicBezTo>
                          <a:pt x="115909" y="25911"/>
                          <a:pt x="62219" y="2762"/>
                          <a:pt x="46542" y="0"/>
                        </a:cubicBezTo>
                        <a:cubicBezTo>
                          <a:pt x="34521" y="4467"/>
                          <a:pt x="0" y="39963"/>
                          <a:pt x="0" y="79845"/>
                        </a:cubicBezTo>
                        <a:lnTo>
                          <a:pt x="0" y="798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2" name="Полилиния: фигура 81">
                    <a:extLst>
                      <a:ext uri="{FF2B5EF4-FFF2-40B4-BE49-F238E27FC236}">
                        <a16:creationId xmlns:a16="http://schemas.microsoft.com/office/drawing/2014/main" id="{6F645D30-EDDB-4E36-9BA0-379400A8D209}"/>
                      </a:ext>
                    </a:extLst>
                  </p:cNvPr>
                  <p:cNvSpPr/>
                  <p:nvPr/>
                </p:nvSpPr>
                <p:spPr>
                  <a:xfrm>
                    <a:off x="827175" y="2220440"/>
                    <a:ext cx="1066900" cy="422293"/>
                  </a:xfrm>
                  <a:custGeom>
                    <a:avLst/>
                    <a:gdLst>
                      <a:gd name="connsiteX0" fmla="*/ 48195 w 1066900"/>
                      <a:gd name="connsiteY0" fmla="*/ 422293 h 422293"/>
                      <a:gd name="connsiteX1" fmla="*/ 223968 w 1066900"/>
                      <a:gd name="connsiteY1" fmla="*/ 422293 h 422293"/>
                      <a:gd name="connsiteX2" fmla="*/ 458305 w 1066900"/>
                      <a:gd name="connsiteY2" fmla="*/ 252937 h 422293"/>
                      <a:gd name="connsiteX3" fmla="*/ 608654 w 1066900"/>
                      <a:gd name="connsiteY3" fmla="*/ 252937 h 422293"/>
                      <a:gd name="connsiteX4" fmla="*/ 842990 w 1066900"/>
                      <a:gd name="connsiteY4" fmla="*/ 422293 h 422293"/>
                      <a:gd name="connsiteX5" fmla="*/ 1018763 w 1066900"/>
                      <a:gd name="connsiteY5" fmla="*/ 422293 h 422293"/>
                      <a:gd name="connsiteX6" fmla="*/ 1057183 w 1066900"/>
                      <a:gd name="connsiteY6" fmla="*/ 359912 h 422293"/>
                      <a:gd name="connsiteX7" fmla="*/ 997726 w 1066900"/>
                      <a:gd name="connsiteY7" fmla="*/ 250907 h 422293"/>
                      <a:gd name="connsiteX8" fmla="*/ 930795 w 1066900"/>
                      <a:gd name="connsiteY8" fmla="*/ 311501 h 422293"/>
                      <a:gd name="connsiteX9" fmla="*/ 863865 w 1066900"/>
                      <a:gd name="connsiteY9" fmla="*/ 250907 h 422293"/>
                      <a:gd name="connsiteX10" fmla="*/ 804408 w 1066900"/>
                      <a:gd name="connsiteY10" fmla="*/ 359912 h 422293"/>
                      <a:gd name="connsiteX11" fmla="*/ 824471 w 1066900"/>
                      <a:gd name="connsiteY11" fmla="*/ 395651 h 422293"/>
                      <a:gd name="connsiteX12" fmla="*/ 665025 w 1066900"/>
                      <a:gd name="connsiteY12" fmla="*/ 252937 h 422293"/>
                      <a:gd name="connsiteX13" fmla="*/ 722695 w 1066900"/>
                      <a:gd name="connsiteY13" fmla="*/ 150105 h 422293"/>
                      <a:gd name="connsiteX14" fmla="*/ 633590 w 1066900"/>
                      <a:gd name="connsiteY14" fmla="*/ 0 h 422293"/>
                      <a:gd name="connsiteX15" fmla="*/ 533439 w 1066900"/>
                      <a:gd name="connsiteY15" fmla="*/ 117778 h 422293"/>
                      <a:gd name="connsiteX16" fmla="*/ 433287 w 1066900"/>
                      <a:gd name="connsiteY16" fmla="*/ 0 h 422293"/>
                      <a:gd name="connsiteX17" fmla="*/ 344183 w 1066900"/>
                      <a:gd name="connsiteY17" fmla="*/ 150105 h 422293"/>
                      <a:gd name="connsiteX18" fmla="*/ 401853 w 1066900"/>
                      <a:gd name="connsiteY18" fmla="*/ 252937 h 422293"/>
                      <a:gd name="connsiteX19" fmla="*/ 242406 w 1066900"/>
                      <a:gd name="connsiteY19" fmla="*/ 395651 h 422293"/>
                      <a:gd name="connsiteX20" fmla="*/ 262469 w 1066900"/>
                      <a:gd name="connsiteY20" fmla="*/ 359912 h 422293"/>
                      <a:gd name="connsiteX21" fmla="*/ 203012 w 1066900"/>
                      <a:gd name="connsiteY21" fmla="*/ 250907 h 422293"/>
                      <a:gd name="connsiteX22" fmla="*/ 136082 w 1066900"/>
                      <a:gd name="connsiteY22" fmla="*/ 311501 h 422293"/>
                      <a:gd name="connsiteX23" fmla="*/ 69152 w 1066900"/>
                      <a:gd name="connsiteY23" fmla="*/ 250907 h 422293"/>
                      <a:gd name="connsiteX24" fmla="*/ 9694 w 1066900"/>
                      <a:gd name="connsiteY24" fmla="*/ 359912 h 422293"/>
                      <a:gd name="connsiteX25" fmla="*/ 48195 w 1066900"/>
                      <a:gd name="connsiteY25" fmla="*/ 422293 h 422293"/>
                      <a:gd name="connsiteX26" fmla="*/ 48195 w 1066900"/>
                      <a:gd name="connsiteY26" fmla="*/ 422293 h 4222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1066900" h="422293">
                        <a:moveTo>
                          <a:pt x="48195" y="422293"/>
                        </a:moveTo>
                        <a:lnTo>
                          <a:pt x="223968" y="422293"/>
                        </a:lnTo>
                        <a:cubicBezTo>
                          <a:pt x="371718" y="422293"/>
                          <a:pt x="438242" y="331564"/>
                          <a:pt x="458305" y="252937"/>
                        </a:cubicBezTo>
                        <a:lnTo>
                          <a:pt x="608654" y="252937"/>
                        </a:lnTo>
                        <a:cubicBezTo>
                          <a:pt x="628717" y="331564"/>
                          <a:pt x="695159" y="422293"/>
                          <a:pt x="842990" y="422293"/>
                        </a:cubicBezTo>
                        <a:lnTo>
                          <a:pt x="1018763" y="422293"/>
                        </a:lnTo>
                        <a:cubicBezTo>
                          <a:pt x="1018763" y="422293"/>
                          <a:pt x="1049466" y="380543"/>
                          <a:pt x="1057183" y="359912"/>
                        </a:cubicBezTo>
                        <a:cubicBezTo>
                          <a:pt x="1084962" y="285590"/>
                          <a:pt x="1049466" y="250907"/>
                          <a:pt x="997726" y="250907"/>
                        </a:cubicBezTo>
                        <a:lnTo>
                          <a:pt x="930795" y="311501"/>
                        </a:lnTo>
                        <a:lnTo>
                          <a:pt x="863865" y="250907"/>
                        </a:lnTo>
                        <a:cubicBezTo>
                          <a:pt x="812125" y="250907"/>
                          <a:pt x="776629" y="285590"/>
                          <a:pt x="804408" y="359912"/>
                        </a:cubicBezTo>
                        <a:cubicBezTo>
                          <a:pt x="807982" y="369415"/>
                          <a:pt x="816430" y="383386"/>
                          <a:pt x="824471" y="395651"/>
                        </a:cubicBezTo>
                        <a:cubicBezTo>
                          <a:pt x="762089" y="387122"/>
                          <a:pt x="682488" y="344398"/>
                          <a:pt x="665025" y="252937"/>
                        </a:cubicBezTo>
                        <a:cubicBezTo>
                          <a:pt x="665025" y="252937"/>
                          <a:pt x="711080" y="179753"/>
                          <a:pt x="722695" y="150105"/>
                        </a:cubicBezTo>
                        <a:cubicBezTo>
                          <a:pt x="764283" y="43618"/>
                          <a:pt x="711161" y="0"/>
                          <a:pt x="633590" y="0"/>
                        </a:cubicBezTo>
                        <a:lnTo>
                          <a:pt x="533439" y="117778"/>
                        </a:lnTo>
                        <a:lnTo>
                          <a:pt x="433287" y="0"/>
                        </a:lnTo>
                        <a:cubicBezTo>
                          <a:pt x="355717" y="0"/>
                          <a:pt x="302595" y="43537"/>
                          <a:pt x="344183" y="150105"/>
                        </a:cubicBezTo>
                        <a:cubicBezTo>
                          <a:pt x="355717" y="179753"/>
                          <a:pt x="401853" y="252937"/>
                          <a:pt x="401853" y="252937"/>
                        </a:cubicBezTo>
                        <a:cubicBezTo>
                          <a:pt x="384308" y="344398"/>
                          <a:pt x="304788" y="387122"/>
                          <a:pt x="242406" y="395651"/>
                        </a:cubicBezTo>
                        <a:cubicBezTo>
                          <a:pt x="250448" y="383386"/>
                          <a:pt x="258895" y="369415"/>
                          <a:pt x="262469" y="359912"/>
                        </a:cubicBezTo>
                        <a:cubicBezTo>
                          <a:pt x="290167" y="285590"/>
                          <a:pt x="254834" y="250907"/>
                          <a:pt x="203012" y="250907"/>
                        </a:cubicBezTo>
                        <a:lnTo>
                          <a:pt x="136082" y="311501"/>
                        </a:lnTo>
                        <a:lnTo>
                          <a:pt x="69152" y="250907"/>
                        </a:lnTo>
                        <a:cubicBezTo>
                          <a:pt x="17330" y="250907"/>
                          <a:pt x="-18004" y="285590"/>
                          <a:pt x="9694" y="359912"/>
                        </a:cubicBezTo>
                        <a:cubicBezTo>
                          <a:pt x="17411" y="380543"/>
                          <a:pt x="48195" y="422293"/>
                          <a:pt x="48195" y="422293"/>
                        </a:cubicBezTo>
                        <a:lnTo>
                          <a:pt x="48195" y="42229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3" name="Полилиния: фигура 82">
                    <a:extLst>
                      <a:ext uri="{FF2B5EF4-FFF2-40B4-BE49-F238E27FC236}">
                        <a16:creationId xmlns:a16="http://schemas.microsoft.com/office/drawing/2014/main" id="{734BF043-6201-46EB-B2C0-E73A713A5B19}"/>
                      </a:ext>
                    </a:extLst>
                  </p:cNvPr>
                  <p:cNvSpPr/>
                  <p:nvPr/>
                </p:nvSpPr>
                <p:spPr>
                  <a:xfrm>
                    <a:off x="1675039" y="2482109"/>
                    <a:ext cx="1046282" cy="1392153"/>
                  </a:xfrm>
                  <a:custGeom>
                    <a:avLst/>
                    <a:gdLst>
                      <a:gd name="connsiteX0" fmla="*/ 1017354 w 1046282"/>
                      <a:gd name="connsiteY0" fmla="*/ 705406 h 1392153"/>
                      <a:gd name="connsiteX1" fmla="*/ 529511 w 1046282"/>
                      <a:gd name="connsiteY1" fmla="*/ 781352 h 1392153"/>
                      <a:gd name="connsiteX2" fmla="*/ 536253 w 1046282"/>
                      <a:gd name="connsiteY2" fmla="*/ 744638 h 1392153"/>
                      <a:gd name="connsiteX3" fmla="*/ 931742 w 1046282"/>
                      <a:gd name="connsiteY3" fmla="*/ 646680 h 1392153"/>
                      <a:gd name="connsiteX4" fmla="*/ 1025151 w 1046282"/>
                      <a:gd name="connsiteY4" fmla="*/ 358734 h 1392153"/>
                      <a:gd name="connsiteX5" fmla="*/ 1018410 w 1046282"/>
                      <a:gd name="connsiteY5" fmla="*/ 357922 h 1392153"/>
                      <a:gd name="connsiteX6" fmla="*/ 541939 w 1046282"/>
                      <a:gd name="connsiteY6" fmla="*/ 638313 h 1392153"/>
                      <a:gd name="connsiteX7" fmla="*/ 538040 w 1046282"/>
                      <a:gd name="connsiteY7" fmla="*/ 595832 h 1392153"/>
                      <a:gd name="connsiteX8" fmla="*/ 863512 w 1046282"/>
                      <a:gd name="connsiteY8" fmla="*/ 353454 h 1392153"/>
                      <a:gd name="connsiteX9" fmla="*/ 859451 w 1046282"/>
                      <a:gd name="connsiteY9" fmla="*/ 1015 h 1392153"/>
                      <a:gd name="connsiteX10" fmla="*/ 856120 w 1046282"/>
                      <a:gd name="connsiteY10" fmla="*/ 41 h 1392153"/>
                      <a:gd name="connsiteX11" fmla="*/ 853196 w 1046282"/>
                      <a:gd name="connsiteY11" fmla="*/ 1909 h 1392153"/>
                      <a:gd name="connsiteX12" fmla="*/ 271051 w 1046282"/>
                      <a:gd name="connsiteY12" fmla="*/ 659432 h 1392153"/>
                      <a:gd name="connsiteX13" fmla="*/ 260329 w 1046282"/>
                      <a:gd name="connsiteY13" fmla="*/ 666093 h 1392153"/>
                      <a:gd name="connsiteX14" fmla="*/ 258217 w 1046282"/>
                      <a:gd name="connsiteY14" fmla="*/ 688349 h 1392153"/>
                      <a:gd name="connsiteX15" fmla="*/ 312395 w 1046282"/>
                      <a:gd name="connsiteY15" fmla="*/ 807588 h 1392153"/>
                      <a:gd name="connsiteX16" fmla="*/ 166757 w 1046282"/>
                      <a:gd name="connsiteY16" fmla="*/ 971339 h 1392153"/>
                      <a:gd name="connsiteX17" fmla="*/ 5361 w 1046282"/>
                      <a:gd name="connsiteY17" fmla="*/ 957856 h 1392153"/>
                      <a:gd name="connsiteX18" fmla="*/ 0 w 1046282"/>
                      <a:gd name="connsiteY18" fmla="*/ 961349 h 1392153"/>
                      <a:gd name="connsiteX19" fmla="*/ 0 w 1046282"/>
                      <a:gd name="connsiteY19" fmla="*/ 1219078 h 1392153"/>
                      <a:gd name="connsiteX20" fmla="*/ 7798 w 1046282"/>
                      <a:gd name="connsiteY20" fmla="*/ 1220297 h 1392153"/>
                      <a:gd name="connsiteX21" fmla="*/ 196079 w 1046282"/>
                      <a:gd name="connsiteY21" fmla="*/ 1106256 h 1392153"/>
                      <a:gd name="connsiteX22" fmla="*/ 281529 w 1046282"/>
                      <a:gd name="connsiteY22" fmla="*/ 1334907 h 1392153"/>
                      <a:gd name="connsiteX23" fmla="*/ 492716 w 1046282"/>
                      <a:gd name="connsiteY23" fmla="*/ 1356350 h 1392153"/>
                      <a:gd name="connsiteX24" fmla="*/ 493609 w 1046282"/>
                      <a:gd name="connsiteY24" fmla="*/ 1353264 h 1392153"/>
                      <a:gd name="connsiteX25" fmla="*/ 491741 w 1046282"/>
                      <a:gd name="connsiteY25" fmla="*/ 1350664 h 1392153"/>
                      <a:gd name="connsiteX26" fmla="*/ 284859 w 1046282"/>
                      <a:gd name="connsiteY26" fmla="*/ 1091716 h 1392153"/>
                      <a:gd name="connsiteX27" fmla="*/ 319461 w 1046282"/>
                      <a:gd name="connsiteY27" fmla="*/ 1077502 h 1392153"/>
                      <a:gd name="connsiteX28" fmla="*/ 495640 w 1046282"/>
                      <a:gd name="connsiteY28" fmla="*/ 1256848 h 1392153"/>
                      <a:gd name="connsiteX29" fmla="*/ 717630 w 1046282"/>
                      <a:gd name="connsiteY29" fmla="*/ 1213230 h 1392153"/>
                      <a:gd name="connsiteX30" fmla="*/ 714463 w 1046282"/>
                      <a:gd name="connsiteY30" fmla="*/ 1207626 h 1392153"/>
                      <a:gd name="connsiteX31" fmla="*/ 396545 w 1046282"/>
                      <a:gd name="connsiteY31" fmla="*/ 1024136 h 1392153"/>
                      <a:gd name="connsiteX32" fmla="*/ 422131 w 1046282"/>
                      <a:gd name="connsiteY32" fmla="*/ 998550 h 1392153"/>
                      <a:gd name="connsiteX33" fmla="*/ 699192 w 1046282"/>
                      <a:gd name="connsiteY33" fmla="*/ 1125669 h 1392153"/>
                      <a:gd name="connsiteX34" fmla="*/ 906156 w 1046282"/>
                      <a:gd name="connsiteY34" fmla="*/ 996763 h 1392153"/>
                      <a:gd name="connsiteX35" fmla="*/ 901851 w 1046282"/>
                      <a:gd name="connsiteY35" fmla="*/ 992864 h 1392153"/>
                      <a:gd name="connsiteX36" fmla="*/ 481669 w 1046282"/>
                      <a:gd name="connsiteY36" fmla="*/ 912532 h 1392153"/>
                      <a:gd name="connsiteX37" fmla="*/ 497265 w 1046282"/>
                      <a:gd name="connsiteY37" fmla="*/ 880123 h 1392153"/>
                      <a:gd name="connsiteX38" fmla="*/ 854983 w 1046282"/>
                      <a:gd name="connsiteY38" fmla="*/ 918461 h 1392153"/>
                      <a:gd name="connsiteX39" fmla="*/ 1023283 w 1046282"/>
                      <a:gd name="connsiteY39" fmla="*/ 708411 h 1392153"/>
                      <a:gd name="connsiteX40" fmla="*/ 1017354 w 1046282"/>
                      <a:gd name="connsiteY40" fmla="*/ 705487 h 1392153"/>
                      <a:gd name="connsiteX41" fmla="*/ 1017354 w 1046282"/>
                      <a:gd name="connsiteY41" fmla="*/ 705487 h 1392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</a:cxnLst>
                    <a:rect l="l" t="t" r="r" b="b"/>
                    <a:pathLst>
                      <a:path w="1046282" h="1392153">
                        <a:moveTo>
                          <a:pt x="1017354" y="705406"/>
                        </a:moveTo>
                        <a:cubicBezTo>
                          <a:pt x="983401" y="722545"/>
                          <a:pt x="784398" y="815792"/>
                          <a:pt x="529511" y="781352"/>
                        </a:cubicBezTo>
                        <a:cubicBezTo>
                          <a:pt x="532192" y="769168"/>
                          <a:pt x="534385" y="756984"/>
                          <a:pt x="536253" y="744638"/>
                        </a:cubicBezTo>
                        <a:cubicBezTo>
                          <a:pt x="705934" y="724332"/>
                          <a:pt x="843855" y="695578"/>
                          <a:pt x="931742" y="646680"/>
                        </a:cubicBezTo>
                        <a:cubicBezTo>
                          <a:pt x="1031893" y="590878"/>
                          <a:pt x="1075755" y="457830"/>
                          <a:pt x="1025151" y="358734"/>
                        </a:cubicBezTo>
                        <a:cubicBezTo>
                          <a:pt x="1023852" y="356216"/>
                          <a:pt x="1020197" y="355810"/>
                          <a:pt x="1018410" y="357922"/>
                        </a:cubicBezTo>
                        <a:cubicBezTo>
                          <a:pt x="990712" y="389844"/>
                          <a:pt x="816482" y="579343"/>
                          <a:pt x="541939" y="638313"/>
                        </a:cubicBezTo>
                        <a:cubicBezTo>
                          <a:pt x="541208" y="624099"/>
                          <a:pt x="539908" y="609884"/>
                          <a:pt x="538040" y="595832"/>
                        </a:cubicBezTo>
                        <a:cubicBezTo>
                          <a:pt x="671413" y="520211"/>
                          <a:pt x="801537" y="433056"/>
                          <a:pt x="863512" y="353454"/>
                        </a:cubicBezTo>
                        <a:cubicBezTo>
                          <a:pt x="957247" y="232996"/>
                          <a:pt x="948555" y="79398"/>
                          <a:pt x="859451" y="1015"/>
                        </a:cubicBezTo>
                        <a:cubicBezTo>
                          <a:pt x="858557" y="203"/>
                          <a:pt x="857339" y="-122"/>
                          <a:pt x="856120" y="41"/>
                        </a:cubicBezTo>
                        <a:cubicBezTo>
                          <a:pt x="854902" y="203"/>
                          <a:pt x="853846" y="934"/>
                          <a:pt x="853196" y="1909"/>
                        </a:cubicBezTo>
                        <a:cubicBezTo>
                          <a:pt x="825011" y="48451"/>
                          <a:pt x="560946" y="475212"/>
                          <a:pt x="271051" y="659432"/>
                        </a:cubicBezTo>
                        <a:cubicBezTo>
                          <a:pt x="267477" y="661707"/>
                          <a:pt x="263984" y="663900"/>
                          <a:pt x="260329" y="666093"/>
                        </a:cubicBezTo>
                        <a:cubicBezTo>
                          <a:pt x="252044" y="671129"/>
                          <a:pt x="251150" y="681932"/>
                          <a:pt x="258217" y="688349"/>
                        </a:cubicBezTo>
                        <a:cubicBezTo>
                          <a:pt x="291601" y="718646"/>
                          <a:pt x="312395" y="760802"/>
                          <a:pt x="312395" y="807588"/>
                        </a:cubicBezTo>
                        <a:cubicBezTo>
                          <a:pt x="312395" y="888976"/>
                          <a:pt x="249688" y="956638"/>
                          <a:pt x="166757" y="971339"/>
                        </a:cubicBezTo>
                        <a:cubicBezTo>
                          <a:pt x="124600" y="979462"/>
                          <a:pt x="63762" y="977107"/>
                          <a:pt x="5361" y="957856"/>
                        </a:cubicBezTo>
                        <a:cubicBezTo>
                          <a:pt x="2762" y="957044"/>
                          <a:pt x="0" y="958750"/>
                          <a:pt x="0" y="961349"/>
                        </a:cubicBezTo>
                        <a:lnTo>
                          <a:pt x="0" y="1219078"/>
                        </a:lnTo>
                        <a:cubicBezTo>
                          <a:pt x="0" y="1223221"/>
                          <a:pt x="6336" y="1224277"/>
                          <a:pt x="7798" y="1220297"/>
                        </a:cubicBezTo>
                        <a:cubicBezTo>
                          <a:pt x="43293" y="1126237"/>
                          <a:pt x="149618" y="1106256"/>
                          <a:pt x="196079" y="1106256"/>
                        </a:cubicBezTo>
                        <a:cubicBezTo>
                          <a:pt x="212812" y="1206813"/>
                          <a:pt x="242703" y="1290070"/>
                          <a:pt x="281529" y="1334907"/>
                        </a:cubicBezTo>
                        <a:cubicBezTo>
                          <a:pt x="344723" y="1407766"/>
                          <a:pt x="447961" y="1406710"/>
                          <a:pt x="492716" y="1356350"/>
                        </a:cubicBezTo>
                        <a:cubicBezTo>
                          <a:pt x="493447" y="1355538"/>
                          <a:pt x="493772" y="1354401"/>
                          <a:pt x="493609" y="1353264"/>
                        </a:cubicBezTo>
                        <a:cubicBezTo>
                          <a:pt x="493447" y="1352126"/>
                          <a:pt x="492716" y="1351233"/>
                          <a:pt x="491741" y="1350664"/>
                        </a:cubicBezTo>
                        <a:cubicBezTo>
                          <a:pt x="465424" y="1335556"/>
                          <a:pt x="314913" y="1243121"/>
                          <a:pt x="284859" y="1091716"/>
                        </a:cubicBezTo>
                        <a:cubicBezTo>
                          <a:pt x="296718" y="1087574"/>
                          <a:pt x="308333" y="1082944"/>
                          <a:pt x="319461" y="1077502"/>
                        </a:cubicBezTo>
                        <a:cubicBezTo>
                          <a:pt x="368034" y="1157915"/>
                          <a:pt x="438701" y="1229475"/>
                          <a:pt x="495640" y="1256848"/>
                        </a:cubicBezTo>
                        <a:cubicBezTo>
                          <a:pt x="591243" y="1302741"/>
                          <a:pt x="678805" y="1280404"/>
                          <a:pt x="717630" y="1213230"/>
                        </a:cubicBezTo>
                        <a:cubicBezTo>
                          <a:pt x="719011" y="1210875"/>
                          <a:pt x="717305" y="1207950"/>
                          <a:pt x="714463" y="1207626"/>
                        </a:cubicBezTo>
                        <a:cubicBezTo>
                          <a:pt x="655330" y="1202914"/>
                          <a:pt x="473790" y="1150849"/>
                          <a:pt x="396545" y="1024136"/>
                        </a:cubicBezTo>
                        <a:cubicBezTo>
                          <a:pt x="405398" y="1016014"/>
                          <a:pt x="414089" y="1007566"/>
                          <a:pt x="422131" y="998550"/>
                        </a:cubicBezTo>
                        <a:cubicBezTo>
                          <a:pt x="503032" y="1060119"/>
                          <a:pt x="617316" y="1114541"/>
                          <a:pt x="699192" y="1125669"/>
                        </a:cubicBezTo>
                        <a:cubicBezTo>
                          <a:pt x="794957" y="1138665"/>
                          <a:pt x="903475" y="1108124"/>
                          <a:pt x="906156" y="996763"/>
                        </a:cubicBezTo>
                        <a:cubicBezTo>
                          <a:pt x="906156" y="994570"/>
                          <a:pt x="904206" y="992702"/>
                          <a:pt x="901851" y="992864"/>
                        </a:cubicBezTo>
                        <a:cubicBezTo>
                          <a:pt x="867817" y="994895"/>
                          <a:pt x="642334" y="1004723"/>
                          <a:pt x="481669" y="912532"/>
                        </a:cubicBezTo>
                        <a:cubicBezTo>
                          <a:pt x="487274" y="901891"/>
                          <a:pt x="492472" y="891088"/>
                          <a:pt x="497265" y="880123"/>
                        </a:cubicBezTo>
                        <a:cubicBezTo>
                          <a:pt x="497265" y="880123"/>
                          <a:pt x="739968" y="937468"/>
                          <a:pt x="854983" y="918461"/>
                        </a:cubicBezTo>
                        <a:cubicBezTo>
                          <a:pt x="969268" y="899617"/>
                          <a:pt x="1036198" y="814411"/>
                          <a:pt x="1023283" y="708411"/>
                        </a:cubicBezTo>
                        <a:cubicBezTo>
                          <a:pt x="1022958" y="705731"/>
                          <a:pt x="1019872" y="704188"/>
                          <a:pt x="1017354" y="705487"/>
                        </a:cubicBezTo>
                        <a:lnTo>
                          <a:pt x="1017354" y="70548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4" name="Полилиния: фигура 83">
                    <a:extLst>
                      <a:ext uri="{FF2B5EF4-FFF2-40B4-BE49-F238E27FC236}">
                        <a16:creationId xmlns:a16="http://schemas.microsoft.com/office/drawing/2014/main" id="{0701254C-D6C3-42C9-8AF5-EA64594FA070}"/>
                      </a:ext>
                    </a:extLst>
                  </p:cNvPr>
                  <p:cNvSpPr/>
                  <p:nvPr/>
                </p:nvSpPr>
                <p:spPr>
                  <a:xfrm>
                    <a:off x="72" y="2482052"/>
                    <a:ext cx="1046197" cy="1392291"/>
                  </a:xfrm>
                  <a:custGeom>
                    <a:avLst/>
                    <a:gdLst>
                      <a:gd name="connsiteX0" fmla="*/ 548933 w 1046197"/>
                      <a:gd name="connsiteY0" fmla="*/ 880180 h 1392291"/>
                      <a:gd name="connsiteX1" fmla="*/ 564610 w 1046197"/>
                      <a:gd name="connsiteY1" fmla="*/ 912589 h 1392291"/>
                      <a:gd name="connsiteX2" fmla="*/ 144428 w 1046197"/>
                      <a:gd name="connsiteY2" fmla="*/ 992921 h 1392291"/>
                      <a:gd name="connsiteX3" fmla="*/ 140042 w 1046197"/>
                      <a:gd name="connsiteY3" fmla="*/ 996901 h 1392291"/>
                      <a:gd name="connsiteX4" fmla="*/ 347005 w 1046197"/>
                      <a:gd name="connsiteY4" fmla="*/ 1125807 h 1392291"/>
                      <a:gd name="connsiteX5" fmla="*/ 624067 w 1046197"/>
                      <a:gd name="connsiteY5" fmla="*/ 998688 h 1392291"/>
                      <a:gd name="connsiteX6" fmla="*/ 649653 w 1046197"/>
                      <a:gd name="connsiteY6" fmla="*/ 1024274 h 1392291"/>
                      <a:gd name="connsiteX7" fmla="*/ 331735 w 1046197"/>
                      <a:gd name="connsiteY7" fmla="*/ 1207764 h 1392291"/>
                      <a:gd name="connsiteX8" fmla="*/ 328567 w 1046197"/>
                      <a:gd name="connsiteY8" fmla="*/ 1213368 h 1392291"/>
                      <a:gd name="connsiteX9" fmla="*/ 550557 w 1046197"/>
                      <a:gd name="connsiteY9" fmla="*/ 1256986 h 1392291"/>
                      <a:gd name="connsiteX10" fmla="*/ 726736 w 1046197"/>
                      <a:gd name="connsiteY10" fmla="*/ 1077640 h 1392291"/>
                      <a:gd name="connsiteX11" fmla="*/ 761339 w 1046197"/>
                      <a:gd name="connsiteY11" fmla="*/ 1091854 h 1392291"/>
                      <a:gd name="connsiteX12" fmla="*/ 554456 w 1046197"/>
                      <a:gd name="connsiteY12" fmla="*/ 1350802 h 1392291"/>
                      <a:gd name="connsiteX13" fmla="*/ 552588 w 1046197"/>
                      <a:gd name="connsiteY13" fmla="*/ 1353401 h 1392291"/>
                      <a:gd name="connsiteX14" fmla="*/ 553400 w 1046197"/>
                      <a:gd name="connsiteY14" fmla="*/ 1356488 h 1392291"/>
                      <a:gd name="connsiteX15" fmla="*/ 764669 w 1046197"/>
                      <a:gd name="connsiteY15" fmla="*/ 1335044 h 1392291"/>
                      <a:gd name="connsiteX16" fmla="*/ 850037 w 1046197"/>
                      <a:gd name="connsiteY16" fmla="*/ 1106394 h 1392291"/>
                      <a:gd name="connsiteX17" fmla="*/ 1038319 w 1046197"/>
                      <a:gd name="connsiteY17" fmla="*/ 1220435 h 1392291"/>
                      <a:gd name="connsiteX18" fmla="*/ 1046198 w 1046197"/>
                      <a:gd name="connsiteY18" fmla="*/ 1219216 h 1392291"/>
                      <a:gd name="connsiteX19" fmla="*/ 1046198 w 1046197"/>
                      <a:gd name="connsiteY19" fmla="*/ 961487 h 1392291"/>
                      <a:gd name="connsiteX20" fmla="*/ 1040837 w 1046197"/>
                      <a:gd name="connsiteY20" fmla="*/ 957994 h 1392291"/>
                      <a:gd name="connsiteX21" fmla="*/ 879522 w 1046197"/>
                      <a:gd name="connsiteY21" fmla="*/ 971478 h 1392291"/>
                      <a:gd name="connsiteX22" fmla="*/ 733884 w 1046197"/>
                      <a:gd name="connsiteY22" fmla="*/ 807726 h 1392291"/>
                      <a:gd name="connsiteX23" fmla="*/ 788062 w 1046197"/>
                      <a:gd name="connsiteY23" fmla="*/ 688405 h 1392291"/>
                      <a:gd name="connsiteX24" fmla="*/ 785950 w 1046197"/>
                      <a:gd name="connsiteY24" fmla="*/ 666149 h 1392291"/>
                      <a:gd name="connsiteX25" fmla="*/ 775147 w 1046197"/>
                      <a:gd name="connsiteY25" fmla="*/ 659489 h 1392291"/>
                      <a:gd name="connsiteX26" fmla="*/ 193082 w 1046197"/>
                      <a:gd name="connsiteY26" fmla="*/ 1966 h 1392291"/>
                      <a:gd name="connsiteX27" fmla="*/ 186666 w 1046197"/>
                      <a:gd name="connsiteY27" fmla="*/ 991 h 1392291"/>
                      <a:gd name="connsiteX28" fmla="*/ 182686 w 1046197"/>
                      <a:gd name="connsiteY28" fmla="*/ 353349 h 1392291"/>
                      <a:gd name="connsiteX29" fmla="*/ 508158 w 1046197"/>
                      <a:gd name="connsiteY29" fmla="*/ 595727 h 1392291"/>
                      <a:gd name="connsiteX30" fmla="*/ 504340 w 1046197"/>
                      <a:gd name="connsiteY30" fmla="*/ 638208 h 1392291"/>
                      <a:gd name="connsiteX31" fmla="*/ 27869 w 1046197"/>
                      <a:gd name="connsiteY31" fmla="*/ 358060 h 1392291"/>
                      <a:gd name="connsiteX32" fmla="*/ 21046 w 1046197"/>
                      <a:gd name="connsiteY32" fmla="*/ 358791 h 1392291"/>
                      <a:gd name="connsiteX33" fmla="*/ 114456 w 1046197"/>
                      <a:gd name="connsiteY33" fmla="*/ 646655 h 1392291"/>
                      <a:gd name="connsiteX34" fmla="*/ 509945 w 1046197"/>
                      <a:gd name="connsiteY34" fmla="*/ 744614 h 1392291"/>
                      <a:gd name="connsiteX35" fmla="*/ 516686 w 1046197"/>
                      <a:gd name="connsiteY35" fmla="*/ 781328 h 1392291"/>
                      <a:gd name="connsiteX36" fmla="*/ 28925 w 1046197"/>
                      <a:gd name="connsiteY36" fmla="*/ 705463 h 1392291"/>
                      <a:gd name="connsiteX37" fmla="*/ 22996 w 1046197"/>
                      <a:gd name="connsiteY37" fmla="*/ 708468 h 1392291"/>
                      <a:gd name="connsiteX38" fmla="*/ 191296 w 1046197"/>
                      <a:gd name="connsiteY38" fmla="*/ 918437 h 1392291"/>
                      <a:gd name="connsiteX39" fmla="*/ 549014 w 1046197"/>
                      <a:gd name="connsiteY39" fmla="*/ 880098 h 1392291"/>
                      <a:gd name="connsiteX40" fmla="*/ 549014 w 1046197"/>
                      <a:gd name="connsiteY40" fmla="*/ 880098 h 13922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1046197" h="1392291">
                        <a:moveTo>
                          <a:pt x="548933" y="880180"/>
                        </a:moveTo>
                        <a:cubicBezTo>
                          <a:pt x="553725" y="891145"/>
                          <a:pt x="559005" y="901948"/>
                          <a:pt x="564610" y="912589"/>
                        </a:cubicBezTo>
                        <a:cubicBezTo>
                          <a:pt x="404026" y="1004780"/>
                          <a:pt x="178624" y="995033"/>
                          <a:pt x="144428" y="992921"/>
                        </a:cubicBezTo>
                        <a:cubicBezTo>
                          <a:pt x="141991" y="992759"/>
                          <a:pt x="140042" y="994708"/>
                          <a:pt x="140042" y="996901"/>
                        </a:cubicBezTo>
                        <a:cubicBezTo>
                          <a:pt x="142722" y="1108262"/>
                          <a:pt x="251240" y="1138803"/>
                          <a:pt x="347005" y="1125807"/>
                        </a:cubicBezTo>
                        <a:cubicBezTo>
                          <a:pt x="428800" y="1114679"/>
                          <a:pt x="543247" y="1060257"/>
                          <a:pt x="624067" y="998688"/>
                        </a:cubicBezTo>
                        <a:cubicBezTo>
                          <a:pt x="632189" y="1007704"/>
                          <a:pt x="640799" y="1016152"/>
                          <a:pt x="649653" y="1024274"/>
                        </a:cubicBezTo>
                        <a:cubicBezTo>
                          <a:pt x="572326" y="1150987"/>
                          <a:pt x="390867" y="1203052"/>
                          <a:pt x="331735" y="1207764"/>
                        </a:cubicBezTo>
                        <a:cubicBezTo>
                          <a:pt x="328892" y="1208007"/>
                          <a:pt x="327186" y="1211013"/>
                          <a:pt x="328567" y="1213368"/>
                        </a:cubicBezTo>
                        <a:cubicBezTo>
                          <a:pt x="367393" y="1280542"/>
                          <a:pt x="454955" y="1302798"/>
                          <a:pt x="550557" y="1256986"/>
                        </a:cubicBezTo>
                        <a:cubicBezTo>
                          <a:pt x="607416" y="1229613"/>
                          <a:pt x="678163" y="1158053"/>
                          <a:pt x="726736" y="1077640"/>
                        </a:cubicBezTo>
                        <a:cubicBezTo>
                          <a:pt x="737864" y="1083082"/>
                          <a:pt x="749480" y="1087793"/>
                          <a:pt x="761339" y="1091854"/>
                        </a:cubicBezTo>
                        <a:cubicBezTo>
                          <a:pt x="731204" y="1243259"/>
                          <a:pt x="580774" y="1335613"/>
                          <a:pt x="554456" y="1350802"/>
                        </a:cubicBezTo>
                        <a:cubicBezTo>
                          <a:pt x="553482" y="1351371"/>
                          <a:pt x="552832" y="1352264"/>
                          <a:pt x="552588" y="1353401"/>
                        </a:cubicBezTo>
                        <a:cubicBezTo>
                          <a:pt x="552426" y="1354457"/>
                          <a:pt x="552669" y="1355595"/>
                          <a:pt x="553400" y="1356488"/>
                        </a:cubicBezTo>
                        <a:cubicBezTo>
                          <a:pt x="598156" y="1406848"/>
                          <a:pt x="701475" y="1407904"/>
                          <a:pt x="764669" y="1335044"/>
                        </a:cubicBezTo>
                        <a:cubicBezTo>
                          <a:pt x="803495" y="1290208"/>
                          <a:pt x="833305" y="1206951"/>
                          <a:pt x="850037" y="1106394"/>
                        </a:cubicBezTo>
                        <a:cubicBezTo>
                          <a:pt x="896580" y="1106394"/>
                          <a:pt x="1002823" y="1126375"/>
                          <a:pt x="1038319" y="1220435"/>
                        </a:cubicBezTo>
                        <a:cubicBezTo>
                          <a:pt x="1039862" y="1224415"/>
                          <a:pt x="1046198" y="1223359"/>
                          <a:pt x="1046198" y="1219216"/>
                        </a:cubicBezTo>
                        <a:lnTo>
                          <a:pt x="1046198" y="961487"/>
                        </a:lnTo>
                        <a:cubicBezTo>
                          <a:pt x="1046198" y="958888"/>
                          <a:pt x="1043436" y="957101"/>
                          <a:pt x="1040837" y="957994"/>
                        </a:cubicBezTo>
                        <a:cubicBezTo>
                          <a:pt x="982435" y="977326"/>
                          <a:pt x="921597" y="979681"/>
                          <a:pt x="879522" y="971478"/>
                        </a:cubicBezTo>
                        <a:cubicBezTo>
                          <a:pt x="796591" y="956776"/>
                          <a:pt x="733884" y="889115"/>
                          <a:pt x="733884" y="807726"/>
                        </a:cubicBezTo>
                        <a:cubicBezTo>
                          <a:pt x="733884" y="760940"/>
                          <a:pt x="754678" y="718703"/>
                          <a:pt x="788062" y="688405"/>
                        </a:cubicBezTo>
                        <a:cubicBezTo>
                          <a:pt x="795210" y="681989"/>
                          <a:pt x="794235" y="671267"/>
                          <a:pt x="785950" y="666149"/>
                        </a:cubicBezTo>
                        <a:cubicBezTo>
                          <a:pt x="782295" y="663956"/>
                          <a:pt x="778721" y="661763"/>
                          <a:pt x="775147" y="659489"/>
                        </a:cubicBezTo>
                        <a:cubicBezTo>
                          <a:pt x="485414" y="475269"/>
                          <a:pt x="221512" y="48833"/>
                          <a:pt x="193082" y="1966"/>
                        </a:cubicBezTo>
                        <a:cubicBezTo>
                          <a:pt x="191783" y="-227"/>
                          <a:pt x="188615" y="-634"/>
                          <a:pt x="186666" y="991"/>
                        </a:cubicBezTo>
                        <a:cubicBezTo>
                          <a:pt x="97642" y="79374"/>
                          <a:pt x="88951" y="232972"/>
                          <a:pt x="182686" y="353349"/>
                        </a:cubicBezTo>
                        <a:cubicBezTo>
                          <a:pt x="244661" y="433031"/>
                          <a:pt x="374866" y="520187"/>
                          <a:pt x="508158" y="595727"/>
                        </a:cubicBezTo>
                        <a:cubicBezTo>
                          <a:pt x="506289" y="609860"/>
                          <a:pt x="504990" y="623993"/>
                          <a:pt x="504340" y="638208"/>
                        </a:cubicBezTo>
                        <a:cubicBezTo>
                          <a:pt x="229959" y="579482"/>
                          <a:pt x="55811" y="390225"/>
                          <a:pt x="27869" y="358060"/>
                        </a:cubicBezTo>
                        <a:cubicBezTo>
                          <a:pt x="26001" y="355867"/>
                          <a:pt x="22265" y="356354"/>
                          <a:pt x="21046" y="358791"/>
                        </a:cubicBezTo>
                        <a:cubicBezTo>
                          <a:pt x="-29395" y="457886"/>
                          <a:pt x="14386" y="590934"/>
                          <a:pt x="114456" y="646655"/>
                        </a:cubicBezTo>
                        <a:cubicBezTo>
                          <a:pt x="202342" y="695553"/>
                          <a:pt x="340264" y="724307"/>
                          <a:pt x="509945" y="744614"/>
                        </a:cubicBezTo>
                        <a:cubicBezTo>
                          <a:pt x="511813" y="756960"/>
                          <a:pt x="514006" y="769144"/>
                          <a:pt x="516686" y="781328"/>
                        </a:cubicBezTo>
                        <a:cubicBezTo>
                          <a:pt x="262043" y="815768"/>
                          <a:pt x="63121" y="722764"/>
                          <a:pt x="28925" y="705463"/>
                        </a:cubicBezTo>
                        <a:cubicBezTo>
                          <a:pt x="26407" y="704163"/>
                          <a:pt x="23320" y="705788"/>
                          <a:pt x="22996" y="708468"/>
                        </a:cubicBezTo>
                        <a:cubicBezTo>
                          <a:pt x="10162" y="814468"/>
                          <a:pt x="77011" y="899593"/>
                          <a:pt x="191296" y="918437"/>
                        </a:cubicBezTo>
                        <a:cubicBezTo>
                          <a:pt x="306230" y="937444"/>
                          <a:pt x="549014" y="880098"/>
                          <a:pt x="549014" y="880098"/>
                        </a:cubicBezTo>
                        <a:lnTo>
                          <a:pt x="549014" y="88009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5" name="Полилиния: фигура 84">
                    <a:extLst>
                      <a:ext uri="{FF2B5EF4-FFF2-40B4-BE49-F238E27FC236}">
                        <a16:creationId xmlns:a16="http://schemas.microsoft.com/office/drawing/2014/main" id="{F0AE8C95-ED21-4607-AD7D-C79FC71931BB}"/>
                      </a:ext>
                    </a:extLst>
                  </p:cNvPr>
                  <p:cNvSpPr/>
                  <p:nvPr/>
                </p:nvSpPr>
                <p:spPr>
                  <a:xfrm>
                    <a:off x="1300425" y="3425019"/>
                    <a:ext cx="270823" cy="537958"/>
                  </a:xfrm>
                  <a:custGeom>
                    <a:avLst/>
                    <a:gdLst>
                      <a:gd name="connsiteX0" fmla="*/ 175285 w 270823"/>
                      <a:gd name="connsiteY0" fmla="*/ 284372 h 537958"/>
                      <a:gd name="connsiteX1" fmla="*/ 254480 w 270823"/>
                      <a:gd name="connsiteY1" fmla="*/ 327665 h 537958"/>
                      <a:gd name="connsiteX2" fmla="*/ 269589 w 270823"/>
                      <a:gd name="connsiteY2" fmla="*/ 327422 h 537958"/>
                      <a:gd name="connsiteX3" fmla="*/ 184789 w 270823"/>
                      <a:gd name="connsiteY3" fmla="*/ 247658 h 537958"/>
                      <a:gd name="connsiteX4" fmla="*/ 168300 w 270823"/>
                      <a:gd name="connsiteY4" fmla="*/ 183489 h 537958"/>
                      <a:gd name="connsiteX5" fmla="*/ 181215 w 270823"/>
                      <a:gd name="connsiteY5" fmla="*/ 136216 h 537958"/>
                      <a:gd name="connsiteX6" fmla="*/ 186413 w 270823"/>
                      <a:gd name="connsiteY6" fmla="*/ 177235 h 537958"/>
                      <a:gd name="connsiteX7" fmla="*/ 198272 w 270823"/>
                      <a:gd name="connsiteY7" fmla="*/ 194942 h 537958"/>
                      <a:gd name="connsiteX8" fmla="*/ 214680 w 270823"/>
                      <a:gd name="connsiteY8" fmla="*/ 183489 h 537958"/>
                      <a:gd name="connsiteX9" fmla="*/ 216386 w 270823"/>
                      <a:gd name="connsiteY9" fmla="*/ 80739 h 537958"/>
                      <a:gd name="connsiteX10" fmla="*/ 103076 w 270823"/>
                      <a:gd name="connsiteY10" fmla="*/ 103563 h 537958"/>
                      <a:gd name="connsiteX11" fmla="*/ 80414 w 270823"/>
                      <a:gd name="connsiteY11" fmla="*/ 68230 h 537958"/>
                      <a:gd name="connsiteX12" fmla="*/ 81226 w 270823"/>
                      <a:gd name="connsiteY12" fmla="*/ 49385 h 537958"/>
                      <a:gd name="connsiteX13" fmla="*/ 97633 w 270823"/>
                      <a:gd name="connsiteY13" fmla="*/ 21362 h 537958"/>
                      <a:gd name="connsiteX14" fmla="*/ 73347 w 270823"/>
                      <a:gd name="connsiteY14" fmla="*/ 0 h 537958"/>
                      <a:gd name="connsiteX15" fmla="*/ 42562 w 270823"/>
                      <a:gd name="connsiteY15" fmla="*/ 32572 h 537958"/>
                      <a:gd name="connsiteX16" fmla="*/ 47030 w 270823"/>
                      <a:gd name="connsiteY16" fmla="*/ 48654 h 537958"/>
                      <a:gd name="connsiteX17" fmla="*/ 0 w 270823"/>
                      <a:gd name="connsiteY17" fmla="*/ 50929 h 537958"/>
                      <a:gd name="connsiteX18" fmla="*/ 177478 w 270823"/>
                      <a:gd name="connsiteY18" fmla="*/ 537959 h 537958"/>
                      <a:gd name="connsiteX19" fmla="*/ 265527 w 270823"/>
                      <a:gd name="connsiteY19" fmla="*/ 430578 h 537958"/>
                      <a:gd name="connsiteX20" fmla="*/ 186088 w 270823"/>
                      <a:gd name="connsiteY20" fmla="*/ 434640 h 537958"/>
                      <a:gd name="connsiteX21" fmla="*/ 162208 w 270823"/>
                      <a:gd name="connsiteY21" fmla="*/ 303704 h 537958"/>
                      <a:gd name="connsiteX22" fmla="*/ 175285 w 270823"/>
                      <a:gd name="connsiteY22" fmla="*/ 284291 h 537958"/>
                      <a:gd name="connsiteX23" fmla="*/ 175285 w 270823"/>
                      <a:gd name="connsiteY23" fmla="*/ 284291 h 5379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270823" h="537958">
                        <a:moveTo>
                          <a:pt x="175285" y="284372"/>
                        </a:moveTo>
                        <a:cubicBezTo>
                          <a:pt x="206801" y="272675"/>
                          <a:pt x="256186" y="282179"/>
                          <a:pt x="254480" y="327665"/>
                        </a:cubicBezTo>
                        <a:cubicBezTo>
                          <a:pt x="254074" y="337981"/>
                          <a:pt x="268533" y="337981"/>
                          <a:pt x="269589" y="327422"/>
                        </a:cubicBezTo>
                        <a:cubicBezTo>
                          <a:pt x="279011" y="259273"/>
                          <a:pt x="232956" y="239698"/>
                          <a:pt x="184789" y="247658"/>
                        </a:cubicBezTo>
                        <a:cubicBezTo>
                          <a:pt x="178778" y="224265"/>
                          <a:pt x="173904" y="203796"/>
                          <a:pt x="168300" y="183489"/>
                        </a:cubicBezTo>
                        <a:cubicBezTo>
                          <a:pt x="163833" y="167082"/>
                          <a:pt x="162208" y="136216"/>
                          <a:pt x="181215" y="136216"/>
                        </a:cubicBezTo>
                        <a:cubicBezTo>
                          <a:pt x="191449" y="136216"/>
                          <a:pt x="187307" y="164889"/>
                          <a:pt x="186413" y="177235"/>
                        </a:cubicBezTo>
                        <a:cubicBezTo>
                          <a:pt x="185520" y="188038"/>
                          <a:pt x="189419" y="194617"/>
                          <a:pt x="198272" y="194942"/>
                        </a:cubicBezTo>
                        <a:cubicBezTo>
                          <a:pt x="203796" y="195186"/>
                          <a:pt x="210619" y="188200"/>
                          <a:pt x="214680" y="183489"/>
                        </a:cubicBezTo>
                        <a:cubicBezTo>
                          <a:pt x="242297" y="152298"/>
                          <a:pt x="248632" y="104050"/>
                          <a:pt x="216386" y="80739"/>
                        </a:cubicBezTo>
                        <a:cubicBezTo>
                          <a:pt x="189337" y="61163"/>
                          <a:pt x="121676" y="75703"/>
                          <a:pt x="103076" y="103563"/>
                        </a:cubicBezTo>
                        <a:cubicBezTo>
                          <a:pt x="100233" y="93085"/>
                          <a:pt x="86830" y="75784"/>
                          <a:pt x="80414" y="68230"/>
                        </a:cubicBezTo>
                        <a:cubicBezTo>
                          <a:pt x="74159" y="60838"/>
                          <a:pt x="72535" y="55802"/>
                          <a:pt x="81226" y="49385"/>
                        </a:cubicBezTo>
                        <a:cubicBezTo>
                          <a:pt x="85287" y="46299"/>
                          <a:pt x="97633" y="34034"/>
                          <a:pt x="97633" y="21362"/>
                        </a:cubicBezTo>
                        <a:cubicBezTo>
                          <a:pt x="97633" y="13890"/>
                          <a:pt x="91866" y="0"/>
                          <a:pt x="73347" y="0"/>
                        </a:cubicBezTo>
                        <a:cubicBezTo>
                          <a:pt x="58807" y="0"/>
                          <a:pt x="42562" y="10072"/>
                          <a:pt x="42562" y="32572"/>
                        </a:cubicBezTo>
                        <a:cubicBezTo>
                          <a:pt x="42562" y="37608"/>
                          <a:pt x="43781" y="42969"/>
                          <a:pt x="47030" y="48654"/>
                        </a:cubicBezTo>
                        <a:cubicBezTo>
                          <a:pt x="37851" y="47111"/>
                          <a:pt x="12834" y="47761"/>
                          <a:pt x="0" y="50929"/>
                        </a:cubicBezTo>
                        <a:lnTo>
                          <a:pt x="177478" y="537959"/>
                        </a:lnTo>
                        <a:cubicBezTo>
                          <a:pt x="228245" y="512860"/>
                          <a:pt x="265527" y="473222"/>
                          <a:pt x="265527" y="430578"/>
                        </a:cubicBezTo>
                        <a:cubicBezTo>
                          <a:pt x="265527" y="394270"/>
                          <a:pt x="212081" y="406292"/>
                          <a:pt x="186088" y="434640"/>
                        </a:cubicBezTo>
                        <a:cubicBezTo>
                          <a:pt x="177722" y="388585"/>
                          <a:pt x="170331" y="346103"/>
                          <a:pt x="162208" y="303704"/>
                        </a:cubicBezTo>
                        <a:cubicBezTo>
                          <a:pt x="160015" y="292007"/>
                          <a:pt x="165944" y="287864"/>
                          <a:pt x="175285" y="284291"/>
                        </a:cubicBezTo>
                        <a:lnTo>
                          <a:pt x="175285" y="28429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6" name="Полилиния: фигура 85">
                    <a:extLst>
                      <a:ext uri="{FF2B5EF4-FFF2-40B4-BE49-F238E27FC236}">
                        <a16:creationId xmlns:a16="http://schemas.microsoft.com/office/drawing/2014/main" id="{D6B3C1BE-C6B3-457D-9491-F0FAC0E6D8F9}"/>
                      </a:ext>
                    </a:extLst>
                  </p:cNvPr>
                  <p:cNvSpPr/>
                  <p:nvPr/>
                </p:nvSpPr>
                <p:spPr>
                  <a:xfrm>
                    <a:off x="1151620" y="3366378"/>
                    <a:ext cx="309470" cy="627481"/>
                  </a:xfrm>
                  <a:custGeom>
                    <a:avLst/>
                    <a:gdLst>
                      <a:gd name="connsiteX0" fmla="*/ 89836 w 309470"/>
                      <a:gd name="connsiteY0" fmla="*/ 6251 h 627481"/>
                      <a:gd name="connsiteX1" fmla="*/ 73184 w 309470"/>
                      <a:gd name="connsiteY1" fmla="*/ 12180 h 627481"/>
                      <a:gd name="connsiteX2" fmla="*/ 73184 w 309470"/>
                      <a:gd name="connsiteY2" fmla="*/ 12180 h 627481"/>
                      <a:gd name="connsiteX3" fmla="*/ 110467 w 309470"/>
                      <a:gd name="connsiteY3" fmla="*/ 115743 h 627481"/>
                      <a:gd name="connsiteX4" fmla="*/ 27211 w 309470"/>
                      <a:gd name="connsiteY4" fmla="*/ 177475 h 627481"/>
                      <a:gd name="connsiteX5" fmla="*/ 141820 w 309470"/>
                      <a:gd name="connsiteY5" fmla="*/ 242050 h 627481"/>
                      <a:gd name="connsiteX6" fmla="*/ 148643 w 309470"/>
                      <a:gd name="connsiteY6" fmla="*/ 267392 h 627481"/>
                      <a:gd name="connsiteX7" fmla="*/ 95197 w 309470"/>
                      <a:gd name="connsiteY7" fmla="*/ 284693 h 627481"/>
                      <a:gd name="connsiteX8" fmla="*/ 21525 w 309470"/>
                      <a:gd name="connsiteY8" fmla="*/ 269017 h 627481"/>
                      <a:gd name="connsiteX9" fmla="*/ 21769 w 309470"/>
                      <a:gd name="connsiteY9" fmla="*/ 327662 h 627481"/>
                      <a:gd name="connsiteX10" fmla="*/ 24774 w 309470"/>
                      <a:gd name="connsiteY10" fmla="*/ 380702 h 627481"/>
                      <a:gd name="connsiteX11" fmla="*/ 76596 w 309470"/>
                      <a:gd name="connsiteY11" fmla="*/ 314909 h 627481"/>
                      <a:gd name="connsiteX12" fmla="*/ 81388 w 309470"/>
                      <a:gd name="connsiteY12" fmla="*/ 358771 h 627481"/>
                      <a:gd name="connsiteX13" fmla="*/ 78627 w 309470"/>
                      <a:gd name="connsiteY13" fmla="*/ 387850 h 627481"/>
                      <a:gd name="connsiteX14" fmla="*/ 40369 w 309470"/>
                      <a:gd name="connsiteY14" fmla="*/ 528127 h 627481"/>
                      <a:gd name="connsiteX15" fmla="*/ 21200 w 309470"/>
                      <a:gd name="connsiteY15" fmla="*/ 501323 h 627481"/>
                      <a:gd name="connsiteX16" fmla="*/ 11290 w 309470"/>
                      <a:gd name="connsiteY16" fmla="*/ 497261 h 627481"/>
                      <a:gd name="connsiteX17" fmla="*/ 0 w 309470"/>
                      <a:gd name="connsiteY17" fmla="*/ 536656 h 627481"/>
                      <a:gd name="connsiteX18" fmla="*/ 79439 w 309470"/>
                      <a:gd name="connsiteY18" fmla="*/ 584417 h 627481"/>
                      <a:gd name="connsiteX19" fmla="*/ 309471 w 309470"/>
                      <a:gd name="connsiteY19" fmla="*/ 608866 h 627481"/>
                      <a:gd name="connsiteX20" fmla="*/ 89836 w 309470"/>
                      <a:gd name="connsiteY20" fmla="*/ 6332 h 627481"/>
                      <a:gd name="connsiteX21" fmla="*/ 65549 w 309470"/>
                      <a:gd name="connsiteY21" fmla="*/ 508470 h 627481"/>
                      <a:gd name="connsiteX22" fmla="*/ 65549 w 309470"/>
                      <a:gd name="connsiteY22" fmla="*/ 508470 h 627481"/>
                      <a:gd name="connsiteX23" fmla="*/ 139465 w 309470"/>
                      <a:gd name="connsiteY23" fmla="*/ 396541 h 627481"/>
                      <a:gd name="connsiteX24" fmla="*/ 154248 w 309470"/>
                      <a:gd name="connsiteY24" fmla="*/ 489057 h 627481"/>
                      <a:gd name="connsiteX25" fmla="*/ 65549 w 309470"/>
                      <a:gd name="connsiteY25" fmla="*/ 508470 h 627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309470" h="627481">
                        <a:moveTo>
                          <a:pt x="89836" y="6251"/>
                        </a:moveTo>
                        <a:cubicBezTo>
                          <a:pt x="85368" y="-5121"/>
                          <a:pt x="69286" y="321"/>
                          <a:pt x="73184" y="12180"/>
                        </a:cubicBezTo>
                        <a:lnTo>
                          <a:pt x="73184" y="12180"/>
                        </a:lnTo>
                        <a:cubicBezTo>
                          <a:pt x="73184" y="12180"/>
                          <a:pt x="110467" y="115743"/>
                          <a:pt x="110467" y="115743"/>
                        </a:cubicBezTo>
                        <a:cubicBezTo>
                          <a:pt x="78545" y="123297"/>
                          <a:pt x="27211" y="146609"/>
                          <a:pt x="27211" y="177475"/>
                        </a:cubicBezTo>
                        <a:cubicBezTo>
                          <a:pt x="27211" y="218494"/>
                          <a:pt x="99827" y="245217"/>
                          <a:pt x="141820" y="242050"/>
                        </a:cubicBezTo>
                        <a:cubicBezTo>
                          <a:pt x="139708" y="251391"/>
                          <a:pt x="142145" y="259757"/>
                          <a:pt x="148643" y="267392"/>
                        </a:cubicBezTo>
                        <a:cubicBezTo>
                          <a:pt x="133373" y="267392"/>
                          <a:pt x="104619" y="274459"/>
                          <a:pt x="95197" y="284693"/>
                        </a:cubicBezTo>
                        <a:cubicBezTo>
                          <a:pt x="72941" y="263981"/>
                          <a:pt x="38095" y="256427"/>
                          <a:pt x="21525" y="269017"/>
                        </a:cubicBezTo>
                        <a:cubicBezTo>
                          <a:pt x="4874" y="281769"/>
                          <a:pt x="4386" y="303294"/>
                          <a:pt x="21769" y="327662"/>
                        </a:cubicBezTo>
                        <a:cubicBezTo>
                          <a:pt x="33871" y="344557"/>
                          <a:pt x="38420" y="361127"/>
                          <a:pt x="24774" y="380702"/>
                        </a:cubicBezTo>
                        <a:cubicBezTo>
                          <a:pt x="75378" y="380702"/>
                          <a:pt x="56777" y="314909"/>
                          <a:pt x="76596" y="314909"/>
                        </a:cubicBezTo>
                        <a:cubicBezTo>
                          <a:pt x="73997" y="327662"/>
                          <a:pt x="75621" y="342445"/>
                          <a:pt x="81388" y="358771"/>
                        </a:cubicBezTo>
                        <a:cubicBezTo>
                          <a:pt x="85206" y="369655"/>
                          <a:pt x="85206" y="377372"/>
                          <a:pt x="78627" y="387850"/>
                        </a:cubicBezTo>
                        <a:cubicBezTo>
                          <a:pt x="62300" y="413924"/>
                          <a:pt x="36877" y="473868"/>
                          <a:pt x="40369" y="528127"/>
                        </a:cubicBezTo>
                        <a:cubicBezTo>
                          <a:pt x="23799" y="528046"/>
                          <a:pt x="15352" y="523985"/>
                          <a:pt x="21200" y="501323"/>
                        </a:cubicBezTo>
                        <a:cubicBezTo>
                          <a:pt x="23393" y="492875"/>
                          <a:pt x="18195" y="486864"/>
                          <a:pt x="11290" y="497261"/>
                        </a:cubicBezTo>
                        <a:cubicBezTo>
                          <a:pt x="3655" y="508714"/>
                          <a:pt x="0" y="528290"/>
                          <a:pt x="0" y="536656"/>
                        </a:cubicBezTo>
                        <a:cubicBezTo>
                          <a:pt x="0" y="584904"/>
                          <a:pt x="57508" y="594651"/>
                          <a:pt x="79439" y="584417"/>
                        </a:cubicBezTo>
                        <a:cubicBezTo>
                          <a:pt x="142958" y="645823"/>
                          <a:pt x="267639" y="629497"/>
                          <a:pt x="309471" y="608866"/>
                        </a:cubicBezTo>
                        <a:lnTo>
                          <a:pt x="89836" y="6332"/>
                        </a:lnTo>
                        <a:close/>
                        <a:moveTo>
                          <a:pt x="65549" y="508470"/>
                        </a:moveTo>
                        <a:lnTo>
                          <a:pt x="65549" y="508470"/>
                        </a:lnTo>
                        <a:cubicBezTo>
                          <a:pt x="61001" y="483697"/>
                          <a:pt x="95522" y="439347"/>
                          <a:pt x="139465" y="396541"/>
                        </a:cubicBezTo>
                        <a:cubicBezTo>
                          <a:pt x="130124" y="424402"/>
                          <a:pt x="135891" y="472487"/>
                          <a:pt x="154248" y="489057"/>
                        </a:cubicBezTo>
                        <a:cubicBezTo>
                          <a:pt x="122407" y="489057"/>
                          <a:pt x="84556" y="495068"/>
                          <a:pt x="65549" y="50847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87" name="Полилиния: фигура 86">
                    <a:extLst>
                      <a:ext uri="{FF2B5EF4-FFF2-40B4-BE49-F238E27FC236}">
                        <a16:creationId xmlns:a16="http://schemas.microsoft.com/office/drawing/2014/main" id="{59F76104-1C95-420E-A361-8EE7FC824BD2}"/>
                      </a:ext>
                    </a:extLst>
                  </p:cNvPr>
                  <p:cNvSpPr/>
                  <p:nvPr/>
                </p:nvSpPr>
                <p:spPr>
                  <a:xfrm>
                    <a:off x="387447" y="4037462"/>
                    <a:ext cx="339767" cy="234417"/>
                  </a:xfrm>
                  <a:custGeom>
                    <a:avLst/>
                    <a:gdLst>
                      <a:gd name="connsiteX0" fmla="*/ 56290 w 339767"/>
                      <a:gd name="connsiteY0" fmla="*/ 227838 h 234417"/>
                      <a:gd name="connsiteX1" fmla="*/ 121270 w 339767"/>
                      <a:gd name="connsiteY1" fmla="*/ 234418 h 234417"/>
                      <a:gd name="connsiteX2" fmla="*/ 339768 w 339767"/>
                      <a:gd name="connsiteY2" fmla="*/ 122407 h 234417"/>
                      <a:gd name="connsiteX3" fmla="*/ 327421 w 339767"/>
                      <a:gd name="connsiteY3" fmla="*/ 32084 h 234417"/>
                      <a:gd name="connsiteX4" fmla="*/ 327259 w 339767"/>
                      <a:gd name="connsiteY4" fmla="*/ 31434 h 234417"/>
                      <a:gd name="connsiteX5" fmla="*/ 323523 w 339767"/>
                      <a:gd name="connsiteY5" fmla="*/ 0 h 234417"/>
                      <a:gd name="connsiteX6" fmla="*/ 290545 w 339767"/>
                      <a:gd name="connsiteY6" fmla="*/ 25830 h 234417"/>
                      <a:gd name="connsiteX7" fmla="*/ 291763 w 339767"/>
                      <a:gd name="connsiteY7" fmla="*/ 30378 h 234417"/>
                      <a:gd name="connsiteX8" fmla="*/ 186901 w 339767"/>
                      <a:gd name="connsiteY8" fmla="*/ 146775 h 234417"/>
                      <a:gd name="connsiteX9" fmla="*/ 165944 w 339767"/>
                      <a:gd name="connsiteY9" fmla="*/ 148319 h 234417"/>
                      <a:gd name="connsiteX10" fmla="*/ 60432 w 339767"/>
                      <a:gd name="connsiteY10" fmla="*/ 86749 h 234417"/>
                      <a:gd name="connsiteX11" fmla="*/ 57589 w 339767"/>
                      <a:gd name="connsiteY11" fmla="*/ 76840 h 234417"/>
                      <a:gd name="connsiteX12" fmla="*/ 53528 w 339767"/>
                      <a:gd name="connsiteY12" fmla="*/ 77165 h 234417"/>
                      <a:gd name="connsiteX13" fmla="*/ 0 w 339767"/>
                      <a:gd name="connsiteY13" fmla="*/ 65874 h 234417"/>
                      <a:gd name="connsiteX14" fmla="*/ 30054 w 339767"/>
                      <a:gd name="connsiteY14" fmla="*/ 178453 h 234417"/>
                      <a:gd name="connsiteX15" fmla="*/ 56371 w 339767"/>
                      <a:gd name="connsiteY15" fmla="*/ 227838 h 2344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339767" h="234417">
                        <a:moveTo>
                          <a:pt x="56290" y="227838"/>
                        </a:moveTo>
                        <a:cubicBezTo>
                          <a:pt x="76921" y="232062"/>
                          <a:pt x="98689" y="234418"/>
                          <a:pt x="121270" y="234418"/>
                        </a:cubicBezTo>
                        <a:cubicBezTo>
                          <a:pt x="223696" y="234418"/>
                          <a:pt x="310689" y="187226"/>
                          <a:pt x="339768" y="122407"/>
                        </a:cubicBezTo>
                        <a:cubicBezTo>
                          <a:pt x="332864" y="93166"/>
                          <a:pt x="328396" y="63031"/>
                          <a:pt x="327421" y="32084"/>
                        </a:cubicBezTo>
                        <a:cubicBezTo>
                          <a:pt x="327421" y="31841"/>
                          <a:pt x="327340" y="31678"/>
                          <a:pt x="327259" y="31434"/>
                        </a:cubicBezTo>
                        <a:cubicBezTo>
                          <a:pt x="327421" y="27129"/>
                          <a:pt x="325716" y="12834"/>
                          <a:pt x="323523" y="0"/>
                        </a:cubicBezTo>
                        <a:cubicBezTo>
                          <a:pt x="314344" y="9991"/>
                          <a:pt x="303379" y="18926"/>
                          <a:pt x="290545" y="25830"/>
                        </a:cubicBezTo>
                        <a:cubicBezTo>
                          <a:pt x="290870" y="27373"/>
                          <a:pt x="291601" y="28835"/>
                          <a:pt x="291763" y="30378"/>
                        </a:cubicBezTo>
                        <a:cubicBezTo>
                          <a:pt x="299236" y="84800"/>
                          <a:pt x="252206" y="136947"/>
                          <a:pt x="186901" y="146775"/>
                        </a:cubicBezTo>
                        <a:cubicBezTo>
                          <a:pt x="179915" y="147831"/>
                          <a:pt x="172849" y="148319"/>
                          <a:pt x="165944" y="148319"/>
                        </a:cubicBezTo>
                        <a:cubicBezTo>
                          <a:pt x="118671" y="148319"/>
                          <a:pt x="76190" y="124357"/>
                          <a:pt x="60432" y="86749"/>
                        </a:cubicBezTo>
                        <a:cubicBezTo>
                          <a:pt x="59132" y="83581"/>
                          <a:pt x="58483" y="80170"/>
                          <a:pt x="57589" y="76840"/>
                        </a:cubicBezTo>
                        <a:cubicBezTo>
                          <a:pt x="56208" y="76840"/>
                          <a:pt x="54827" y="77165"/>
                          <a:pt x="53528" y="77165"/>
                        </a:cubicBezTo>
                        <a:cubicBezTo>
                          <a:pt x="34359" y="77165"/>
                          <a:pt x="16083" y="73022"/>
                          <a:pt x="0" y="65874"/>
                        </a:cubicBezTo>
                        <a:cubicBezTo>
                          <a:pt x="5767" y="105187"/>
                          <a:pt x="14864" y="143282"/>
                          <a:pt x="30054" y="178453"/>
                        </a:cubicBezTo>
                        <a:cubicBezTo>
                          <a:pt x="37445" y="195673"/>
                          <a:pt x="46299" y="212081"/>
                          <a:pt x="56371" y="22783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grpSp>
                <p:nvGrpSpPr>
                  <p:cNvPr id="88" name="Рисунок 14">
                    <a:extLst>
                      <a:ext uri="{FF2B5EF4-FFF2-40B4-BE49-F238E27FC236}">
                        <a16:creationId xmlns:a16="http://schemas.microsoft.com/office/drawing/2014/main" id="{D329ACE1-1C00-4E8E-892F-2C5F70D08249}"/>
                      </a:ext>
                    </a:extLst>
                  </p:cNvPr>
                  <p:cNvGrpSpPr/>
                  <p:nvPr/>
                </p:nvGrpSpPr>
                <p:grpSpPr>
                  <a:xfrm>
                    <a:off x="464693" y="3786176"/>
                    <a:ext cx="1981504" cy="984025"/>
                    <a:chOff x="464693" y="3786176"/>
                    <a:chExt cx="1981504" cy="984025"/>
                  </a:xfrm>
                  <a:solidFill>
                    <a:srgbClr val="FFFFFF"/>
                  </a:solidFill>
                </p:grpSpPr>
                <p:sp>
                  <p:nvSpPr>
                    <p:cNvPr id="89" name="Полилиния: фигура 88">
                      <a:extLst>
                        <a:ext uri="{FF2B5EF4-FFF2-40B4-BE49-F238E27FC236}">
                          <a16:creationId xmlns:a16="http://schemas.microsoft.com/office/drawing/2014/main" id="{434AB174-A07B-4687-9FCF-56166B032B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9509" y="4315174"/>
                      <a:ext cx="253912" cy="180885"/>
                    </a:xfrm>
                    <a:custGeom>
                      <a:avLst/>
                      <a:gdLst>
                        <a:gd name="connsiteX0" fmla="*/ 175529 w 253912"/>
                        <a:gd name="connsiteY0" fmla="*/ 0 h 180885"/>
                        <a:gd name="connsiteX1" fmla="*/ 0 w 253912"/>
                        <a:gd name="connsiteY1" fmla="*/ 110792 h 180885"/>
                        <a:gd name="connsiteX2" fmla="*/ 215411 w 253912"/>
                        <a:gd name="connsiteY2" fmla="*/ 180728 h 180885"/>
                        <a:gd name="connsiteX3" fmla="*/ 253912 w 253912"/>
                        <a:gd name="connsiteY3" fmla="*/ 86912 h 180885"/>
                        <a:gd name="connsiteX4" fmla="*/ 175529 w 253912"/>
                        <a:gd name="connsiteY4" fmla="*/ 0 h 1808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53912" h="180885">
                          <a:moveTo>
                            <a:pt x="175529" y="0"/>
                          </a:moveTo>
                          <a:cubicBezTo>
                            <a:pt x="154329" y="59051"/>
                            <a:pt x="84881" y="104050"/>
                            <a:pt x="0" y="110792"/>
                          </a:cubicBezTo>
                          <a:cubicBezTo>
                            <a:pt x="83500" y="159040"/>
                            <a:pt x="168950" y="183083"/>
                            <a:pt x="215411" y="180728"/>
                          </a:cubicBezTo>
                          <a:cubicBezTo>
                            <a:pt x="213949" y="166513"/>
                            <a:pt x="235474" y="105187"/>
                            <a:pt x="253912" y="86912"/>
                          </a:cubicBezTo>
                          <a:cubicBezTo>
                            <a:pt x="223777" y="61975"/>
                            <a:pt x="197623" y="32571"/>
                            <a:pt x="175529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812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algn="ctr" defTabSz="2889073" hangingPunct="0">
                        <a:defRPr/>
                      </a:pPr>
                      <a:endParaRPr lang="ru-RU" sz="2845" kern="0">
                        <a:solidFill>
                          <a:srgbClr val="5E5E5E"/>
                        </a:solidFill>
                        <a:latin typeface="Montserrat"/>
                        <a:sym typeface="Helvetica Neue"/>
                      </a:endParaRPr>
                    </a:p>
                  </p:txBody>
                </p:sp>
                <p:sp>
                  <p:nvSpPr>
                    <p:cNvPr id="90" name="Полилиния: фигура 89">
                      <a:extLst>
                        <a:ext uri="{FF2B5EF4-FFF2-40B4-BE49-F238E27FC236}">
                          <a16:creationId xmlns:a16="http://schemas.microsoft.com/office/drawing/2014/main" id="{68E3F6F9-90B1-4AEE-BA03-65035F9816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4693" y="3786176"/>
                      <a:ext cx="1981504" cy="984025"/>
                    </a:xfrm>
                    <a:custGeom>
                      <a:avLst/>
                      <a:gdLst>
                        <a:gd name="connsiteX0" fmla="*/ 1802239 w 1981504"/>
                        <a:gd name="connsiteY0" fmla="*/ 249744 h 984025"/>
                        <a:gd name="connsiteX1" fmla="*/ 1726212 w 1981504"/>
                        <a:gd name="connsiteY1" fmla="*/ 273543 h 984025"/>
                        <a:gd name="connsiteX2" fmla="*/ 1690391 w 1981504"/>
                        <a:gd name="connsiteY2" fmla="*/ 290681 h 984025"/>
                        <a:gd name="connsiteX3" fmla="*/ 1723044 w 1981504"/>
                        <a:gd name="connsiteY3" fmla="*/ 228219 h 984025"/>
                        <a:gd name="connsiteX4" fmla="*/ 1772023 w 1981504"/>
                        <a:gd name="connsiteY4" fmla="*/ 199221 h 984025"/>
                        <a:gd name="connsiteX5" fmla="*/ 1749036 w 1981504"/>
                        <a:gd name="connsiteY5" fmla="*/ 125712 h 984025"/>
                        <a:gd name="connsiteX6" fmla="*/ 1675527 w 1981504"/>
                        <a:gd name="connsiteY6" fmla="*/ 148699 h 984025"/>
                        <a:gd name="connsiteX7" fmla="*/ 1679669 w 1981504"/>
                        <a:gd name="connsiteY7" fmla="*/ 205475 h 984025"/>
                        <a:gd name="connsiteX8" fmla="*/ 1647017 w 1981504"/>
                        <a:gd name="connsiteY8" fmla="*/ 268019 h 984025"/>
                        <a:gd name="connsiteX9" fmla="*/ 1640600 w 1981504"/>
                        <a:gd name="connsiteY9" fmla="*/ 228787 h 984025"/>
                        <a:gd name="connsiteX10" fmla="*/ 1616801 w 1981504"/>
                        <a:gd name="connsiteY10" fmla="*/ 152841 h 984025"/>
                        <a:gd name="connsiteX11" fmla="*/ 1437210 w 1981504"/>
                        <a:gd name="connsiteY11" fmla="*/ 58944 h 984025"/>
                        <a:gd name="connsiteX12" fmla="*/ 1432012 w 1981504"/>
                        <a:gd name="connsiteY12" fmla="*/ 68935 h 984025"/>
                        <a:gd name="connsiteX13" fmla="*/ 1447201 w 1981504"/>
                        <a:gd name="connsiteY13" fmla="*/ 139276 h 984025"/>
                        <a:gd name="connsiteX14" fmla="*/ 1466208 w 1981504"/>
                        <a:gd name="connsiteY14" fmla="*/ 200033 h 984025"/>
                        <a:gd name="connsiteX15" fmla="*/ 1493825 w 1981504"/>
                        <a:gd name="connsiteY15" fmla="*/ 266476 h 984025"/>
                        <a:gd name="connsiteX16" fmla="*/ 1525503 w 1981504"/>
                        <a:gd name="connsiteY16" fmla="*/ 283046 h 984025"/>
                        <a:gd name="connsiteX17" fmla="*/ 1522497 w 1981504"/>
                        <a:gd name="connsiteY17" fmla="*/ 283533 h 984025"/>
                        <a:gd name="connsiteX18" fmla="*/ 1491713 w 1981504"/>
                        <a:gd name="connsiteY18" fmla="*/ 308226 h 984025"/>
                        <a:gd name="connsiteX19" fmla="*/ 1528346 w 1981504"/>
                        <a:gd name="connsiteY19" fmla="*/ 391889 h 984025"/>
                        <a:gd name="connsiteX20" fmla="*/ 1503166 w 1981504"/>
                        <a:gd name="connsiteY20" fmla="*/ 396112 h 984025"/>
                        <a:gd name="connsiteX21" fmla="*/ 1503003 w 1981504"/>
                        <a:gd name="connsiteY21" fmla="*/ 395706 h 984025"/>
                        <a:gd name="connsiteX22" fmla="*/ 1318864 w 1981504"/>
                        <a:gd name="connsiteY22" fmla="*/ 349570 h 984025"/>
                        <a:gd name="connsiteX23" fmla="*/ 1210103 w 1981504"/>
                        <a:gd name="connsiteY23" fmla="*/ 299 h 984025"/>
                        <a:gd name="connsiteX24" fmla="*/ 1210103 w 1981504"/>
                        <a:gd name="connsiteY24" fmla="*/ 150485 h 984025"/>
                        <a:gd name="connsiteX25" fmla="*/ 1116206 w 1981504"/>
                        <a:gd name="connsiteY25" fmla="*/ 237803 h 984025"/>
                        <a:gd name="connsiteX26" fmla="*/ 1015323 w 1981504"/>
                        <a:gd name="connsiteY26" fmla="*/ 237803 h 984025"/>
                        <a:gd name="connsiteX27" fmla="*/ 895840 w 1981504"/>
                        <a:gd name="connsiteY27" fmla="*/ 310582 h 984025"/>
                        <a:gd name="connsiteX28" fmla="*/ 776357 w 1981504"/>
                        <a:gd name="connsiteY28" fmla="*/ 237803 h 984025"/>
                        <a:gd name="connsiteX29" fmla="*/ 675474 w 1981504"/>
                        <a:gd name="connsiteY29" fmla="*/ 237803 h 984025"/>
                        <a:gd name="connsiteX30" fmla="*/ 581577 w 1981504"/>
                        <a:gd name="connsiteY30" fmla="*/ 150485 h 984025"/>
                        <a:gd name="connsiteX31" fmla="*/ 581577 w 1981504"/>
                        <a:gd name="connsiteY31" fmla="*/ 299 h 984025"/>
                        <a:gd name="connsiteX32" fmla="*/ 472734 w 1981504"/>
                        <a:gd name="connsiteY32" fmla="*/ 349570 h 984025"/>
                        <a:gd name="connsiteX33" fmla="*/ 279579 w 1981504"/>
                        <a:gd name="connsiteY33" fmla="*/ 397006 h 984025"/>
                        <a:gd name="connsiteX34" fmla="*/ 43943 w 1981504"/>
                        <a:gd name="connsiteY34" fmla="*/ 511859 h 984025"/>
                        <a:gd name="connsiteX35" fmla="*/ 0 w 1981504"/>
                        <a:gd name="connsiteY35" fmla="*/ 509017 h 984025"/>
                        <a:gd name="connsiteX36" fmla="*/ 113879 w 1981504"/>
                        <a:gd name="connsiteY36" fmla="*/ 614204 h 984025"/>
                        <a:gd name="connsiteX37" fmla="*/ 132317 w 1981504"/>
                        <a:gd name="connsiteY37" fmla="*/ 614854 h 984025"/>
                        <a:gd name="connsiteX38" fmla="*/ 310445 w 1981504"/>
                        <a:gd name="connsiteY38" fmla="*/ 497320 h 984025"/>
                        <a:gd name="connsiteX39" fmla="*/ 303947 w 1981504"/>
                        <a:gd name="connsiteY39" fmla="*/ 485786 h 984025"/>
                        <a:gd name="connsiteX40" fmla="*/ 547300 w 1981504"/>
                        <a:gd name="connsiteY40" fmla="*/ 424948 h 984025"/>
                        <a:gd name="connsiteX41" fmla="*/ 565251 w 1981504"/>
                        <a:gd name="connsiteY41" fmla="*/ 398224 h 984025"/>
                        <a:gd name="connsiteX42" fmla="*/ 703741 w 1981504"/>
                        <a:gd name="connsiteY42" fmla="*/ 286214 h 984025"/>
                        <a:gd name="connsiteX43" fmla="*/ 814533 w 1981504"/>
                        <a:gd name="connsiteY43" fmla="*/ 445011 h 984025"/>
                        <a:gd name="connsiteX44" fmla="*/ 438620 w 1981504"/>
                        <a:gd name="connsiteY44" fmla="*/ 690313 h 984025"/>
                        <a:gd name="connsiteX45" fmla="*/ 531136 w 1981504"/>
                        <a:gd name="connsiteY45" fmla="*/ 801430 h 984025"/>
                        <a:gd name="connsiteX46" fmla="*/ 534141 w 1981504"/>
                        <a:gd name="connsiteY46" fmla="*/ 800861 h 984025"/>
                        <a:gd name="connsiteX47" fmla="*/ 535847 w 1981504"/>
                        <a:gd name="connsiteY47" fmla="*/ 798343 h 984025"/>
                        <a:gd name="connsiteX48" fmla="*/ 832809 w 1981504"/>
                        <a:gd name="connsiteY48" fmla="*/ 493583 h 984025"/>
                        <a:gd name="connsiteX49" fmla="*/ 840444 w 1981504"/>
                        <a:gd name="connsiteY49" fmla="*/ 514134 h 984025"/>
                        <a:gd name="connsiteX50" fmla="*/ 617479 w 1981504"/>
                        <a:gd name="connsiteY50" fmla="*/ 777712 h 984025"/>
                        <a:gd name="connsiteX51" fmla="*/ 714544 w 1981504"/>
                        <a:gd name="connsiteY51" fmla="*/ 893458 h 984025"/>
                        <a:gd name="connsiteX52" fmla="*/ 719661 w 1981504"/>
                        <a:gd name="connsiteY52" fmla="*/ 889966 h 984025"/>
                        <a:gd name="connsiteX53" fmla="*/ 853684 w 1981504"/>
                        <a:gd name="connsiteY53" fmla="*/ 557265 h 984025"/>
                        <a:gd name="connsiteX54" fmla="*/ 857339 w 1981504"/>
                        <a:gd name="connsiteY54" fmla="*/ 591136 h 984025"/>
                        <a:gd name="connsiteX55" fmla="*/ 797069 w 1981504"/>
                        <a:gd name="connsiteY55" fmla="*/ 881681 h 984025"/>
                        <a:gd name="connsiteX56" fmla="*/ 894297 w 1981504"/>
                        <a:gd name="connsiteY56" fmla="*/ 984025 h 984025"/>
                        <a:gd name="connsiteX57" fmla="*/ 994611 w 1981504"/>
                        <a:gd name="connsiteY57" fmla="*/ 881681 h 984025"/>
                        <a:gd name="connsiteX58" fmla="*/ 934341 w 1981504"/>
                        <a:gd name="connsiteY58" fmla="*/ 591136 h 984025"/>
                        <a:gd name="connsiteX59" fmla="*/ 937996 w 1981504"/>
                        <a:gd name="connsiteY59" fmla="*/ 557265 h 984025"/>
                        <a:gd name="connsiteX60" fmla="*/ 1071938 w 1981504"/>
                        <a:gd name="connsiteY60" fmla="*/ 889885 h 984025"/>
                        <a:gd name="connsiteX61" fmla="*/ 1076974 w 1981504"/>
                        <a:gd name="connsiteY61" fmla="*/ 893377 h 984025"/>
                        <a:gd name="connsiteX62" fmla="*/ 1174120 w 1981504"/>
                        <a:gd name="connsiteY62" fmla="*/ 777630 h 984025"/>
                        <a:gd name="connsiteX63" fmla="*/ 951155 w 1981504"/>
                        <a:gd name="connsiteY63" fmla="*/ 514053 h 984025"/>
                        <a:gd name="connsiteX64" fmla="*/ 958790 w 1981504"/>
                        <a:gd name="connsiteY64" fmla="*/ 493502 h 984025"/>
                        <a:gd name="connsiteX65" fmla="*/ 1255752 w 1981504"/>
                        <a:gd name="connsiteY65" fmla="*/ 798262 h 984025"/>
                        <a:gd name="connsiteX66" fmla="*/ 1257457 w 1981504"/>
                        <a:gd name="connsiteY66" fmla="*/ 800780 h 984025"/>
                        <a:gd name="connsiteX67" fmla="*/ 1260463 w 1981504"/>
                        <a:gd name="connsiteY67" fmla="*/ 801348 h 984025"/>
                        <a:gd name="connsiteX68" fmla="*/ 1352898 w 1981504"/>
                        <a:gd name="connsiteY68" fmla="*/ 690231 h 984025"/>
                        <a:gd name="connsiteX69" fmla="*/ 976985 w 1981504"/>
                        <a:gd name="connsiteY69" fmla="*/ 444929 h 984025"/>
                        <a:gd name="connsiteX70" fmla="*/ 1087777 w 1981504"/>
                        <a:gd name="connsiteY70" fmla="*/ 286133 h 984025"/>
                        <a:gd name="connsiteX71" fmla="*/ 1226267 w 1981504"/>
                        <a:gd name="connsiteY71" fmla="*/ 398143 h 984025"/>
                        <a:gd name="connsiteX72" fmla="*/ 1244218 w 1981504"/>
                        <a:gd name="connsiteY72" fmla="*/ 424785 h 984025"/>
                        <a:gd name="connsiteX73" fmla="*/ 1446308 w 1981504"/>
                        <a:gd name="connsiteY73" fmla="*/ 464911 h 984025"/>
                        <a:gd name="connsiteX74" fmla="*/ 1489520 w 1981504"/>
                        <a:gd name="connsiteY74" fmla="*/ 550198 h 984025"/>
                        <a:gd name="connsiteX75" fmla="*/ 1490007 w 1981504"/>
                        <a:gd name="connsiteY75" fmla="*/ 551010 h 984025"/>
                        <a:gd name="connsiteX76" fmla="*/ 1490007 w 1981504"/>
                        <a:gd name="connsiteY76" fmla="*/ 551010 h 984025"/>
                        <a:gd name="connsiteX77" fmla="*/ 1426976 w 1981504"/>
                        <a:gd name="connsiteY77" fmla="*/ 586344 h 984025"/>
                        <a:gd name="connsiteX78" fmla="*/ 1418691 w 1981504"/>
                        <a:gd name="connsiteY78" fmla="*/ 708182 h 984025"/>
                        <a:gd name="connsiteX79" fmla="*/ 1389125 w 1981504"/>
                        <a:gd name="connsiteY79" fmla="*/ 790220 h 984025"/>
                        <a:gd name="connsiteX80" fmla="*/ 1394485 w 1981504"/>
                        <a:gd name="connsiteY80" fmla="*/ 802973 h 984025"/>
                        <a:gd name="connsiteX81" fmla="*/ 1408050 w 1981504"/>
                        <a:gd name="connsiteY81" fmla="*/ 800130 h 984025"/>
                        <a:gd name="connsiteX82" fmla="*/ 1458573 w 1981504"/>
                        <a:gd name="connsiteY82" fmla="*/ 728976 h 984025"/>
                        <a:gd name="connsiteX83" fmla="*/ 1553769 w 1981504"/>
                        <a:gd name="connsiteY83" fmla="*/ 652786 h 984025"/>
                        <a:gd name="connsiteX84" fmla="*/ 1546865 w 1981504"/>
                        <a:gd name="connsiteY84" fmla="*/ 580820 h 984025"/>
                        <a:gd name="connsiteX85" fmla="*/ 1665211 w 1981504"/>
                        <a:gd name="connsiteY85" fmla="*/ 544025 h 984025"/>
                        <a:gd name="connsiteX86" fmla="*/ 1657007 w 1981504"/>
                        <a:gd name="connsiteY86" fmla="*/ 458656 h 984025"/>
                        <a:gd name="connsiteX87" fmla="*/ 1745625 w 1981504"/>
                        <a:gd name="connsiteY87" fmla="*/ 440868 h 984025"/>
                        <a:gd name="connsiteX88" fmla="*/ 1748386 w 1981504"/>
                        <a:gd name="connsiteY88" fmla="*/ 401473 h 984025"/>
                        <a:gd name="connsiteX89" fmla="*/ 1747006 w 1981504"/>
                        <a:gd name="connsiteY89" fmla="*/ 398712 h 984025"/>
                        <a:gd name="connsiteX90" fmla="*/ 1778765 w 1981504"/>
                        <a:gd name="connsiteY90" fmla="*/ 415363 h 984025"/>
                        <a:gd name="connsiteX91" fmla="*/ 1849106 w 1981504"/>
                        <a:gd name="connsiteY91" fmla="*/ 400174 h 984025"/>
                        <a:gd name="connsiteX92" fmla="*/ 1909863 w 1981504"/>
                        <a:gd name="connsiteY92" fmla="*/ 381167 h 984025"/>
                        <a:gd name="connsiteX93" fmla="*/ 1976306 w 1981504"/>
                        <a:gd name="connsiteY93" fmla="*/ 353550 h 984025"/>
                        <a:gd name="connsiteX94" fmla="*/ 1981505 w 1981504"/>
                        <a:gd name="connsiteY94" fmla="*/ 343559 h 984025"/>
                        <a:gd name="connsiteX95" fmla="*/ 1801914 w 1981504"/>
                        <a:gd name="connsiteY95" fmla="*/ 249662 h 984025"/>
                        <a:gd name="connsiteX96" fmla="*/ 1442327 w 1981504"/>
                        <a:gd name="connsiteY96" fmla="*/ 662696 h 984025"/>
                        <a:gd name="connsiteX97" fmla="*/ 1455973 w 1981504"/>
                        <a:gd name="connsiteY97" fmla="*/ 607462 h 984025"/>
                        <a:gd name="connsiteX98" fmla="*/ 1480260 w 1981504"/>
                        <a:gd name="connsiteY98" fmla="*/ 591136 h 984025"/>
                        <a:gd name="connsiteX99" fmla="*/ 1442327 w 1981504"/>
                        <a:gd name="connsiteY99" fmla="*/ 662777 h 984025"/>
                        <a:gd name="connsiteX100" fmla="*/ 1520467 w 1981504"/>
                        <a:gd name="connsiteY100" fmla="*/ 641171 h 984025"/>
                        <a:gd name="connsiteX101" fmla="*/ 1482209 w 1981504"/>
                        <a:gd name="connsiteY101" fmla="*/ 683815 h 984025"/>
                        <a:gd name="connsiteX102" fmla="*/ 1521117 w 1981504"/>
                        <a:gd name="connsiteY102" fmla="*/ 610305 h 984025"/>
                        <a:gd name="connsiteX103" fmla="*/ 1520467 w 1981504"/>
                        <a:gd name="connsiteY103" fmla="*/ 641171 h 984025"/>
                        <a:gd name="connsiteX104" fmla="*/ 1581467 w 1981504"/>
                        <a:gd name="connsiteY104" fmla="*/ 393594 h 984025"/>
                        <a:gd name="connsiteX105" fmla="*/ 1576431 w 1981504"/>
                        <a:gd name="connsiteY105" fmla="*/ 388802 h 984025"/>
                        <a:gd name="connsiteX106" fmla="*/ 1523310 w 1981504"/>
                        <a:gd name="connsiteY106" fmla="*/ 324552 h 984025"/>
                        <a:gd name="connsiteX107" fmla="*/ 1532407 w 1981504"/>
                        <a:gd name="connsiteY107" fmla="*/ 317567 h 984025"/>
                        <a:gd name="connsiteX108" fmla="*/ 1611196 w 1981504"/>
                        <a:gd name="connsiteY108" fmla="*/ 336736 h 984025"/>
                        <a:gd name="connsiteX109" fmla="*/ 1581467 w 1981504"/>
                        <a:gd name="connsiteY109" fmla="*/ 393676 h 984025"/>
                        <a:gd name="connsiteX110" fmla="*/ 1714434 w 1981504"/>
                        <a:gd name="connsiteY110" fmla="*/ 424541 h 984025"/>
                        <a:gd name="connsiteX111" fmla="*/ 1631340 w 1981504"/>
                        <a:gd name="connsiteY111" fmla="*/ 417556 h 984025"/>
                        <a:gd name="connsiteX112" fmla="*/ 1624842 w 1981504"/>
                        <a:gd name="connsiteY112" fmla="*/ 416257 h 984025"/>
                        <a:gd name="connsiteX113" fmla="*/ 1654571 w 1981504"/>
                        <a:gd name="connsiteY113" fmla="*/ 359398 h 984025"/>
                        <a:gd name="connsiteX114" fmla="*/ 1715084 w 1981504"/>
                        <a:gd name="connsiteY114" fmla="*/ 413008 h 984025"/>
                        <a:gd name="connsiteX115" fmla="*/ 1714515 w 1981504"/>
                        <a:gd name="connsiteY115" fmla="*/ 424541 h 9840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</a:cxnLst>
                      <a:rect l="l" t="t" r="r" b="b"/>
                      <a:pathLst>
                        <a:path w="1981504" h="984025">
                          <a:moveTo>
                            <a:pt x="1802239" y="249744"/>
                          </a:moveTo>
                          <a:cubicBezTo>
                            <a:pt x="1774704" y="235366"/>
                            <a:pt x="1740670" y="246007"/>
                            <a:pt x="1726212" y="273543"/>
                          </a:cubicBezTo>
                          <a:cubicBezTo>
                            <a:pt x="1719226" y="286945"/>
                            <a:pt x="1704525" y="293199"/>
                            <a:pt x="1690391" y="290681"/>
                          </a:cubicBezTo>
                          <a:lnTo>
                            <a:pt x="1723044" y="228219"/>
                          </a:lnTo>
                          <a:cubicBezTo>
                            <a:pt x="1742863" y="228462"/>
                            <a:pt x="1762195" y="217984"/>
                            <a:pt x="1772023" y="199221"/>
                          </a:cubicBezTo>
                          <a:cubicBezTo>
                            <a:pt x="1785913" y="172579"/>
                            <a:pt x="1775597" y="139682"/>
                            <a:pt x="1749036" y="125712"/>
                          </a:cubicBezTo>
                          <a:cubicBezTo>
                            <a:pt x="1722394" y="111822"/>
                            <a:pt x="1689498" y="122138"/>
                            <a:pt x="1675527" y="148699"/>
                          </a:cubicBezTo>
                          <a:cubicBezTo>
                            <a:pt x="1665699" y="167462"/>
                            <a:pt x="1668135" y="189311"/>
                            <a:pt x="1679669" y="205475"/>
                          </a:cubicBezTo>
                          <a:lnTo>
                            <a:pt x="1647017" y="268019"/>
                          </a:lnTo>
                          <a:cubicBezTo>
                            <a:pt x="1636863" y="257866"/>
                            <a:pt x="1633533" y="242189"/>
                            <a:pt x="1640600" y="228787"/>
                          </a:cubicBezTo>
                          <a:cubicBezTo>
                            <a:pt x="1654977" y="201252"/>
                            <a:pt x="1644336" y="167218"/>
                            <a:pt x="1616801" y="152841"/>
                          </a:cubicBezTo>
                          <a:lnTo>
                            <a:pt x="1437210" y="58944"/>
                          </a:lnTo>
                          <a:lnTo>
                            <a:pt x="1432012" y="68935"/>
                          </a:lnTo>
                          <a:cubicBezTo>
                            <a:pt x="1419503" y="92978"/>
                            <a:pt x="1425920" y="122544"/>
                            <a:pt x="1447201" y="139276"/>
                          </a:cubicBezTo>
                          <a:cubicBezTo>
                            <a:pt x="1440378" y="161532"/>
                            <a:pt x="1447932" y="185656"/>
                            <a:pt x="1466208" y="200033"/>
                          </a:cubicBezTo>
                          <a:cubicBezTo>
                            <a:pt x="1458248" y="225944"/>
                            <a:pt x="1469782" y="253886"/>
                            <a:pt x="1493825" y="266476"/>
                          </a:cubicBezTo>
                          <a:lnTo>
                            <a:pt x="1525503" y="283046"/>
                          </a:lnTo>
                          <a:cubicBezTo>
                            <a:pt x="1524528" y="283290"/>
                            <a:pt x="1523472" y="283209"/>
                            <a:pt x="1522497" y="283533"/>
                          </a:cubicBezTo>
                          <a:cubicBezTo>
                            <a:pt x="1508608" y="287595"/>
                            <a:pt x="1498211" y="295880"/>
                            <a:pt x="1491713" y="308226"/>
                          </a:cubicBezTo>
                          <a:cubicBezTo>
                            <a:pt x="1477986" y="334462"/>
                            <a:pt x="1498373" y="361673"/>
                            <a:pt x="1528346" y="391889"/>
                          </a:cubicBezTo>
                          <a:cubicBezTo>
                            <a:pt x="1519492" y="392376"/>
                            <a:pt x="1511126" y="393838"/>
                            <a:pt x="1503166" y="396112"/>
                          </a:cubicBezTo>
                          <a:cubicBezTo>
                            <a:pt x="1503166" y="396031"/>
                            <a:pt x="1503084" y="395788"/>
                            <a:pt x="1503003" y="395706"/>
                          </a:cubicBezTo>
                          <a:cubicBezTo>
                            <a:pt x="1449800" y="403179"/>
                            <a:pt x="1304731" y="370932"/>
                            <a:pt x="1318864" y="349570"/>
                          </a:cubicBezTo>
                          <a:cubicBezTo>
                            <a:pt x="1477823" y="125955"/>
                            <a:pt x="1356228" y="-7174"/>
                            <a:pt x="1210103" y="299"/>
                          </a:cubicBezTo>
                          <a:lnTo>
                            <a:pt x="1210103" y="150485"/>
                          </a:lnTo>
                          <a:cubicBezTo>
                            <a:pt x="1210103" y="198734"/>
                            <a:pt x="1168028" y="237803"/>
                            <a:pt x="1116206" y="237803"/>
                          </a:cubicBezTo>
                          <a:lnTo>
                            <a:pt x="1015323" y="237803"/>
                          </a:lnTo>
                          <a:cubicBezTo>
                            <a:pt x="942951" y="237803"/>
                            <a:pt x="895840" y="310582"/>
                            <a:pt x="895840" y="310582"/>
                          </a:cubicBezTo>
                          <a:cubicBezTo>
                            <a:pt x="895840" y="310582"/>
                            <a:pt x="848729" y="237803"/>
                            <a:pt x="776357" y="237803"/>
                          </a:cubicBezTo>
                          <a:lnTo>
                            <a:pt x="675474" y="237803"/>
                          </a:lnTo>
                          <a:cubicBezTo>
                            <a:pt x="623571" y="237803"/>
                            <a:pt x="581577" y="198734"/>
                            <a:pt x="581577" y="150485"/>
                          </a:cubicBezTo>
                          <a:lnTo>
                            <a:pt x="581577" y="299"/>
                          </a:lnTo>
                          <a:cubicBezTo>
                            <a:pt x="435452" y="-7093"/>
                            <a:pt x="313775" y="126037"/>
                            <a:pt x="472734" y="349570"/>
                          </a:cubicBezTo>
                          <a:cubicBezTo>
                            <a:pt x="485974" y="369552"/>
                            <a:pt x="353089" y="400986"/>
                            <a:pt x="279579" y="397006"/>
                          </a:cubicBezTo>
                          <a:cubicBezTo>
                            <a:pt x="241322" y="464342"/>
                            <a:pt x="150105" y="511859"/>
                            <a:pt x="43943" y="511859"/>
                          </a:cubicBezTo>
                          <a:cubicBezTo>
                            <a:pt x="28998" y="511859"/>
                            <a:pt x="14296" y="510885"/>
                            <a:pt x="0" y="509017"/>
                          </a:cubicBezTo>
                          <a:cubicBezTo>
                            <a:pt x="31922" y="550198"/>
                            <a:pt x="71804" y="585288"/>
                            <a:pt x="113879" y="614204"/>
                          </a:cubicBezTo>
                          <a:cubicBezTo>
                            <a:pt x="119971" y="614610"/>
                            <a:pt x="126144" y="614854"/>
                            <a:pt x="132317" y="614854"/>
                          </a:cubicBezTo>
                          <a:cubicBezTo>
                            <a:pt x="227757" y="614854"/>
                            <a:pt x="305815" y="562707"/>
                            <a:pt x="310445" y="497320"/>
                          </a:cubicBezTo>
                          <a:cubicBezTo>
                            <a:pt x="308252" y="493502"/>
                            <a:pt x="306059" y="489685"/>
                            <a:pt x="303947" y="485786"/>
                          </a:cubicBezTo>
                          <a:cubicBezTo>
                            <a:pt x="364867" y="449722"/>
                            <a:pt x="463718" y="424948"/>
                            <a:pt x="547300" y="424948"/>
                          </a:cubicBezTo>
                          <a:cubicBezTo>
                            <a:pt x="563220" y="424948"/>
                            <a:pt x="570693" y="411464"/>
                            <a:pt x="565251" y="398224"/>
                          </a:cubicBezTo>
                          <a:cubicBezTo>
                            <a:pt x="524232" y="299535"/>
                            <a:pt x="612443" y="227975"/>
                            <a:pt x="703741" y="286214"/>
                          </a:cubicBezTo>
                          <a:cubicBezTo>
                            <a:pt x="743541" y="311638"/>
                            <a:pt x="783992" y="361592"/>
                            <a:pt x="814533" y="445011"/>
                          </a:cubicBezTo>
                          <a:cubicBezTo>
                            <a:pt x="664752" y="481319"/>
                            <a:pt x="476633" y="581226"/>
                            <a:pt x="438620" y="690313"/>
                          </a:cubicBezTo>
                          <a:cubicBezTo>
                            <a:pt x="423999" y="732388"/>
                            <a:pt x="472328" y="789814"/>
                            <a:pt x="531136" y="801430"/>
                          </a:cubicBezTo>
                          <a:cubicBezTo>
                            <a:pt x="532192" y="801673"/>
                            <a:pt x="533248" y="801430"/>
                            <a:pt x="534141" y="800861"/>
                          </a:cubicBezTo>
                          <a:cubicBezTo>
                            <a:pt x="535035" y="800292"/>
                            <a:pt x="535685" y="799399"/>
                            <a:pt x="535847" y="798343"/>
                          </a:cubicBezTo>
                          <a:cubicBezTo>
                            <a:pt x="566550" y="635485"/>
                            <a:pt x="741673" y="514134"/>
                            <a:pt x="832809" y="493583"/>
                          </a:cubicBezTo>
                          <a:cubicBezTo>
                            <a:pt x="837357" y="505849"/>
                            <a:pt x="835895" y="501869"/>
                            <a:pt x="840444" y="514134"/>
                          </a:cubicBezTo>
                          <a:cubicBezTo>
                            <a:pt x="741186" y="561082"/>
                            <a:pt x="644933" y="660096"/>
                            <a:pt x="617479" y="777712"/>
                          </a:cubicBezTo>
                          <a:cubicBezTo>
                            <a:pt x="604889" y="831645"/>
                            <a:pt x="664996" y="880219"/>
                            <a:pt x="714544" y="893458"/>
                          </a:cubicBezTo>
                          <a:cubicBezTo>
                            <a:pt x="717062" y="894108"/>
                            <a:pt x="719499" y="892402"/>
                            <a:pt x="719661" y="889966"/>
                          </a:cubicBezTo>
                          <a:cubicBezTo>
                            <a:pt x="729083" y="741160"/>
                            <a:pt x="794795" y="614773"/>
                            <a:pt x="853684" y="557265"/>
                          </a:cubicBezTo>
                          <a:cubicBezTo>
                            <a:pt x="855308" y="568474"/>
                            <a:pt x="856527" y="579764"/>
                            <a:pt x="857339" y="591136"/>
                          </a:cubicBezTo>
                          <a:cubicBezTo>
                            <a:pt x="857339" y="591136"/>
                            <a:pt x="797069" y="759111"/>
                            <a:pt x="797069" y="881681"/>
                          </a:cubicBezTo>
                          <a:cubicBezTo>
                            <a:pt x="797069" y="938701"/>
                            <a:pt x="881788" y="978502"/>
                            <a:pt x="894297" y="984025"/>
                          </a:cubicBezTo>
                          <a:cubicBezTo>
                            <a:pt x="909973" y="978421"/>
                            <a:pt x="994611" y="938620"/>
                            <a:pt x="994611" y="881681"/>
                          </a:cubicBezTo>
                          <a:cubicBezTo>
                            <a:pt x="994611" y="759111"/>
                            <a:pt x="934341" y="591136"/>
                            <a:pt x="934341" y="591136"/>
                          </a:cubicBezTo>
                          <a:cubicBezTo>
                            <a:pt x="935153" y="579845"/>
                            <a:pt x="936372" y="568555"/>
                            <a:pt x="937996" y="557265"/>
                          </a:cubicBezTo>
                          <a:cubicBezTo>
                            <a:pt x="996804" y="614773"/>
                            <a:pt x="1062597" y="741079"/>
                            <a:pt x="1071938" y="889885"/>
                          </a:cubicBezTo>
                          <a:cubicBezTo>
                            <a:pt x="1072100" y="892321"/>
                            <a:pt x="1074537" y="894108"/>
                            <a:pt x="1076974" y="893377"/>
                          </a:cubicBezTo>
                          <a:cubicBezTo>
                            <a:pt x="1126684" y="880056"/>
                            <a:pt x="1186710" y="831483"/>
                            <a:pt x="1174120" y="777630"/>
                          </a:cubicBezTo>
                          <a:cubicBezTo>
                            <a:pt x="1146584" y="659934"/>
                            <a:pt x="1050413" y="561001"/>
                            <a:pt x="951155" y="514053"/>
                          </a:cubicBezTo>
                          <a:cubicBezTo>
                            <a:pt x="955703" y="501869"/>
                            <a:pt x="954160" y="505767"/>
                            <a:pt x="958790" y="493502"/>
                          </a:cubicBezTo>
                          <a:cubicBezTo>
                            <a:pt x="1049925" y="514134"/>
                            <a:pt x="1225048" y="635485"/>
                            <a:pt x="1255752" y="798262"/>
                          </a:cubicBezTo>
                          <a:cubicBezTo>
                            <a:pt x="1255995" y="799318"/>
                            <a:pt x="1256564" y="800211"/>
                            <a:pt x="1257457" y="800780"/>
                          </a:cubicBezTo>
                          <a:cubicBezTo>
                            <a:pt x="1258351" y="801348"/>
                            <a:pt x="1259407" y="801592"/>
                            <a:pt x="1260463" y="801348"/>
                          </a:cubicBezTo>
                          <a:cubicBezTo>
                            <a:pt x="1319189" y="789814"/>
                            <a:pt x="1367681" y="732388"/>
                            <a:pt x="1352898" y="690231"/>
                          </a:cubicBezTo>
                          <a:cubicBezTo>
                            <a:pt x="1314965" y="581145"/>
                            <a:pt x="1126846" y="481237"/>
                            <a:pt x="976985" y="444929"/>
                          </a:cubicBezTo>
                          <a:cubicBezTo>
                            <a:pt x="1007525" y="361510"/>
                            <a:pt x="1047976" y="311475"/>
                            <a:pt x="1087777" y="286133"/>
                          </a:cubicBezTo>
                          <a:cubicBezTo>
                            <a:pt x="1178993" y="227894"/>
                            <a:pt x="1267286" y="299454"/>
                            <a:pt x="1226267" y="398143"/>
                          </a:cubicBezTo>
                          <a:cubicBezTo>
                            <a:pt x="1220743" y="411383"/>
                            <a:pt x="1228216" y="424785"/>
                            <a:pt x="1244218" y="424785"/>
                          </a:cubicBezTo>
                          <a:cubicBezTo>
                            <a:pt x="1310742" y="424785"/>
                            <a:pt x="1387094" y="440462"/>
                            <a:pt x="1446308" y="464911"/>
                          </a:cubicBezTo>
                          <a:cubicBezTo>
                            <a:pt x="1445333" y="494639"/>
                            <a:pt x="1461334" y="526236"/>
                            <a:pt x="1489520" y="550198"/>
                          </a:cubicBezTo>
                          <a:cubicBezTo>
                            <a:pt x="1489682" y="550442"/>
                            <a:pt x="1489845" y="550767"/>
                            <a:pt x="1490007" y="551010"/>
                          </a:cubicBezTo>
                          <a:cubicBezTo>
                            <a:pt x="1490007" y="551010"/>
                            <a:pt x="1490007" y="551010"/>
                            <a:pt x="1490007" y="551010"/>
                          </a:cubicBezTo>
                          <a:cubicBezTo>
                            <a:pt x="1465071" y="555884"/>
                            <a:pt x="1442165" y="565468"/>
                            <a:pt x="1426976" y="586344"/>
                          </a:cubicBezTo>
                          <a:cubicBezTo>
                            <a:pt x="1407644" y="612986"/>
                            <a:pt x="1405045" y="652949"/>
                            <a:pt x="1418691" y="708182"/>
                          </a:cubicBezTo>
                          <a:lnTo>
                            <a:pt x="1389125" y="790220"/>
                          </a:lnTo>
                          <a:cubicBezTo>
                            <a:pt x="1387663" y="795256"/>
                            <a:pt x="1389937" y="800617"/>
                            <a:pt x="1394485" y="802973"/>
                          </a:cubicBezTo>
                          <a:cubicBezTo>
                            <a:pt x="1399034" y="805328"/>
                            <a:pt x="1404801" y="804191"/>
                            <a:pt x="1408050" y="800130"/>
                          </a:cubicBezTo>
                          <a:lnTo>
                            <a:pt x="1458573" y="728976"/>
                          </a:lnTo>
                          <a:cubicBezTo>
                            <a:pt x="1511613" y="708751"/>
                            <a:pt x="1542966" y="683815"/>
                            <a:pt x="1553769" y="652786"/>
                          </a:cubicBezTo>
                          <a:cubicBezTo>
                            <a:pt x="1562298" y="628337"/>
                            <a:pt x="1557018" y="604132"/>
                            <a:pt x="1546865" y="580820"/>
                          </a:cubicBezTo>
                          <a:cubicBezTo>
                            <a:pt x="1596494" y="594872"/>
                            <a:pt x="1645717" y="581145"/>
                            <a:pt x="1665211" y="544025"/>
                          </a:cubicBezTo>
                          <a:cubicBezTo>
                            <a:pt x="1678857" y="517951"/>
                            <a:pt x="1674390" y="486517"/>
                            <a:pt x="1657007" y="458656"/>
                          </a:cubicBezTo>
                          <a:cubicBezTo>
                            <a:pt x="1698351" y="465885"/>
                            <a:pt x="1731979" y="466941"/>
                            <a:pt x="1745625" y="440868"/>
                          </a:cubicBezTo>
                          <a:cubicBezTo>
                            <a:pt x="1752123" y="428522"/>
                            <a:pt x="1753016" y="415282"/>
                            <a:pt x="1748386" y="401473"/>
                          </a:cubicBezTo>
                          <a:cubicBezTo>
                            <a:pt x="1748062" y="400499"/>
                            <a:pt x="1747412" y="399686"/>
                            <a:pt x="1747006" y="398712"/>
                          </a:cubicBezTo>
                          <a:lnTo>
                            <a:pt x="1778765" y="415363"/>
                          </a:lnTo>
                          <a:cubicBezTo>
                            <a:pt x="1802808" y="427872"/>
                            <a:pt x="1832374" y="421455"/>
                            <a:pt x="1849106" y="400174"/>
                          </a:cubicBezTo>
                          <a:cubicBezTo>
                            <a:pt x="1871362" y="406997"/>
                            <a:pt x="1895487" y="399443"/>
                            <a:pt x="1909863" y="381167"/>
                          </a:cubicBezTo>
                          <a:cubicBezTo>
                            <a:pt x="1935775" y="389127"/>
                            <a:pt x="1963716" y="377512"/>
                            <a:pt x="1976306" y="353550"/>
                          </a:cubicBezTo>
                          <a:lnTo>
                            <a:pt x="1981505" y="343559"/>
                          </a:lnTo>
                          <a:lnTo>
                            <a:pt x="1801914" y="249662"/>
                          </a:lnTo>
                          <a:close/>
                          <a:moveTo>
                            <a:pt x="1442327" y="662696"/>
                          </a:moveTo>
                          <a:cubicBezTo>
                            <a:pt x="1441678" y="643364"/>
                            <a:pt x="1448582" y="617616"/>
                            <a:pt x="1455973" y="607462"/>
                          </a:cubicBezTo>
                          <a:cubicBezTo>
                            <a:pt x="1461253" y="600233"/>
                            <a:pt x="1471163" y="594791"/>
                            <a:pt x="1480260" y="591136"/>
                          </a:cubicBezTo>
                          <a:lnTo>
                            <a:pt x="1442327" y="662777"/>
                          </a:lnTo>
                          <a:close/>
                          <a:moveTo>
                            <a:pt x="1520467" y="641171"/>
                          </a:moveTo>
                          <a:cubicBezTo>
                            <a:pt x="1516324" y="653111"/>
                            <a:pt x="1498536" y="673336"/>
                            <a:pt x="1482209" y="683815"/>
                          </a:cubicBezTo>
                          <a:lnTo>
                            <a:pt x="1521117" y="610305"/>
                          </a:lnTo>
                          <a:cubicBezTo>
                            <a:pt x="1523147" y="619727"/>
                            <a:pt x="1523391" y="632805"/>
                            <a:pt x="1520467" y="641171"/>
                          </a:cubicBezTo>
                          <a:close/>
                          <a:moveTo>
                            <a:pt x="1581467" y="393594"/>
                          </a:moveTo>
                          <a:cubicBezTo>
                            <a:pt x="1579762" y="391970"/>
                            <a:pt x="1578137" y="390427"/>
                            <a:pt x="1576431" y="388802"/>
                          </a:cubicBezTo>
                          <a:cubicBezTo>
                            <a:pt x="1559130" y="372232"/>
                            <a:pt x="1518599" y="333569"/>
                            <a:pt x="1523310" y="324552"/>
                          </a:cubicBezTo>
                          <a:cubicBezTo>
                            <a:pt x="1525178" y="320979"/>
                            <a:pt x="1527940" y="318867"/>
                            <a:pt x="1532407" y="317567"/>
                          </a:cubicBezTo>
                          <a:cubicBezTo>
                            <a:pt x="1551658" y="311963"/>
                            <a:pt x="1586910" y="324959"/>
                            <a:pt x="1611196" y="336736"/>
                          </a:cubicBezTo>
                          <a:lnTo>
                            <a:pt x="1581467" y="393676"/>
                          </a:lnTo>
                          <a:close/>
                          <a:moveTo>
                            <a:pt x="1714434" y="424541"/>
                          </a:moveTo>
                          <a:cubicBezTo>
                            <a:pt x="1709723" y="433558"/>
                            <a:pt x="1654733" y="422348"/>
                            <a:pt x="1631340" y="417556"/>
                          </a:cubicBezTo>
                          <a:cubicBezTo>
                            <a:pt x="1629147" y="417150"/>
                            <a:pt x="1627035" y="416663"/>
                            <a:pt x="1624842" y="416257"/>
                          </a:cubicBezTo>
                          <a:lnTo>
                            <a:pt x="1654571" y="359398"/>
                          </a:lnTo>
                          <a:cubicBezTo>
                            <a:pt x="1677964" y="372557"/>
                            <a:pt x="1708667" y="394082"/>
                            <a:pt x="1715084" y="413008"/>
                          </a:cubicBezTo>
                          <a:cubicBezTo>
                            <a:pt x="1716627" y="417475"/>
                            <a:pt x="1716465" y="420886"/>
                            <a:pt x="1714515" y="42454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812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algn="ctr" defTabSz="2889073" hangingPunct="0">
                        <a:defRPr/>
                      </a:pPr>
                      <a:endParaRPr lang="ru-RU" sz="2845" kern="0">
                        <a:solidFill>
                          <a:srgbClr val="5E5E5E"/>
                        </a:solidFill>
                        <a:latin typeface="Montserrat"/>
                        <a:sym typeface="Helvetica Neue"/>
                      </a:endParaRPr>
                    </a:p>
                  </p:txBody>
                </p:sp>
              </p:grpSp>
            </p:grpSp>
            <p:grpSp>
              <p:nvGrpSpPr>
                <p:cNvPr id="91" name="Рисунок 14">
                  <a:extLst>
                    <a:ext uri="{FF2B5EF4-FFF2-40B4-BE49-F238E27FC236}">
                      <a16:creationId xmlns:a16="http://schemas.microsoft.com/office/drawing/2014/main" id="{EB572D73-95D9-4276-873A-3C328F7993E8}"/>
                    </a:ext>
                  </a:extLst>
                </p:cNvPr>
                <p:cNvGrpSpPr/>
                <p:nvPr/>
              </p:nvGrpSpPr>
              <p:grpSpPr>
                <a:xfrm>
                  <a:off x="923213" y="2084712"/>
                  <a:ext cx="878863" cy="365353"/>
                  <a:chOff x="923213" y="2084712"/>
                  <a:chExt cx="878863" cy="365353"/>
                </a:xfrm>
                <a:solidFill>
                  <a:srgbClr val="FFFFFF"/>
                </a:solidFill>
              </p:grpSpPr>
              <p:sp>
                <p:nvSpPr>
                  <p:cNvPr id="92" name="Полилиния: фигура 91">
                    <a:extLst>
                      <a:ext uri="{FF2B5EF4-FFF2-40B4-BE49-F238E27FC236}">
                        <a16:creationId xmlns:a16="http://schemas.microsoft.com/office/drawing/2014/main" id="{96C0A608-ED98-4CD0-A1F0-D8BF5F4FFB30}"/>
                      </a:ext>
                    </a:extLst>
                  </p:cNvPr>
                  <p:cNvSpPr/>
                  <p:nvPr/>
                </p:nvSpPr>
                <p:spPr>
                  <a:xfrm>
                    <a:off x="1298720" y="2084712"/>
                    <a:ext cx="119889" cy="122488"/>
                  </a:xfrm>
                  <a:custGeom>
                    <a:avLst/>
                    <a:gdLst>
                      <a:gd name="connsiteX0" fmla="*/ 82769 w 119889"/>
                      <a:gd name="connsiteY0" fmla="*/ 79195 h 122488"/>
                      <a:gd name="connsiteX1" fmla="*/ 104781 w 119889"/>
                      <a:gd name="connsiteY1" fmla="*/ 122489 h 122488"/>
                      <a:gd name="connsiteX2" fmla="*/ 15758 w 119889"/>
                      <a:gd name="connsiteY2" fmla="*/ 122489 h 122488"/>
                      <a:gd name="connsiteX3" fmla="*/ 40450 w 119889"/>
                      <a:gd name="connsiteY3" fmla="*/ 82525 h 122488"/>
                      <a:gd name="connsiteX4" fmla="*/ 0 w 119889"/>
                      <a:gd name="connsiteY4" fmla="*/ 89511 h 122488"/>
                      <a:gd name="connsiteX5" fmla="*/ 0 w 119889"/>
                      <a:gd name="connsiteY5" fmla="*/ 39151 h 122488"/>
                      <a:gd name="connsiteX6" fmla="*/ 44918 w 119889"/>
                      <a:gd name="connsiteY6" fmla="*/ 47517 h 122488"/>
                      <a:gd name="connsiteX7" fmla="*/ 35577 w 119889"/>
                      <a:gd name="connsiteY7" fmla="*/ 0 h 122488"/>
                      <a:gd name="connsiteX8" fmla="*/ 89024 w 119889"/>
                      <a:gd name="connsiteY8" fmla="*/ 0 h 122488"/>
                      <a:gd name="connsiteX9" fmla="*/ 78383 w 119889"/>
                      <a:gd name="connsiteY9" fmla="*/ 47273 h 122488"/>
                      <a:gd name="connsiteX10" fmla="*/ 119889 w 119889"/>
                      <a:gd name="connsiteY10" fmla="*/ 38501 h 122488"/>
                      <a:gd name="connsiteX11" fmla="*/ 119889 w 119889"/>
                      <a:gd name="connsiteY11" fmla="*/ 88049 h 122488"/>
                      <a:gd name="connsiteX12" fmla="*/ 82607 w 119889"/>
                      <a:gd name="connsiteY12" fmla="*/ 79195 h 1224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19889" h="122488">
                        <a:moveTo>
                          <a:pt x="82769" y="79195"/>
                        </a:moveTo>
                        <a:cubicBezTo>
                          <a:pt x="90729" y="94872"/>
                          <a:pt x="97309" y="107787"/>
                          <a:pt x="104781" y="122489"/>
                        </a:cubicBezTo>
                        <a:lnTo>
                          <a:pt x="15758" y="122489"/>
                        </a:lnTo>
                        <a:cubicBezTo>
                          <a:pt x="24287" y="108680"/>
                          <a:pt x="31678" y="96740"/>
                          <a:pt x="40450" y="82525"/>
                        </a:cubicBezTo>
                        <a:cubicBezTo>
                          <a:pt x="25505" y="85125"/>
                          <a:pt x="13240" y="87237"/>
                          <a:pt x="0" y="89511"/>
                        </a:cubicBezTo>
                        <a:lnTo>
                          <a:pt x="0" y="39151"/>
                        </a:lnTo>
                        <a:cubicBezTo>
                          <a:pt x="15189" y="41994"/>
                          <a:pt x="29404" y="44593"/>
                          <a:pt x="44918" y="47517"/>
                        </a:cubicBezTo>
                        <a:cubicBezTo>
                          <a:pt x="41831" y="31922"/>
                          <a:pt x="38826" y="16489"/>
                          <a:pt x="35577" y="0"/>
                        </a:cubicBezTo>
                        <a:lnTo>
                          <a:pt x="89024" y="0"/>
                        </a:lnTo>
                        <a:cubicBezTo>
                          <a:pt x="85531" y="15758"/>
                          <a:pt x="82201" y="30378"/>
                          <a:pt x="78383" y="47273"/>
                        </a:cubicBezTo>
                        <a:cubicBezTo>
                          <a:pt x="93004" y="44187"/>
                          <a:pt x="106000" y="41425"/>
                          <a:pt x="119889" y="38501"/>
                        </a:cubicBezTo>
                        <a:lnTo>
                          <a:pt x="119889" y="88049"/>
                        </a:lnTo>
                        <a:cubicBezTo>
                          <a:pt x="108355" y="85287"/>
                          <a:pt x="96903" y="82607"/>
                          <a:pt x="82607" y="791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93" name="Полилиния: фигура 92">
                    <a:extLst>
                      <a:ext uri="{FF2B5EF4-FFF2-40B4-BE49-F238E27FC236}">
                        <a16:creationId xmlns:a16="http://schemas.microsoft.com/office/drawing/2014/main" id="{56C8FDF1-FE26-4EC5-9C47-3E75C032EDE6}"/>
                      </a:ext>
                    </a:extLst>
                  </p:cNvPr>
                  <p:cNvSpPr/>
                  <p:nvPr/>
                </p:nvSpPr>
                <p:spPr>
                  <a:xfrm>
                    <a:off x="923213" y="2362341"/>
                    <a:ext cx="87723" cy="87399"/>
                  </a:xfrm>
                  <a:custGeom>
                    <a:avLst/>
                    <a:gdLst>
                      <a:gd name="connsiteX0" fmla="*/ 87724 w 87723"/>
                      <a:gd name="connsiteY0" fmla="*/ 63275 h 87399"/>
                      <a:gd name="connsiteX1" fmla="*/ 60432 w 87723"/>
                      <a:gd name="connsiteY1" fmla="*/ 56939 h 87399"/>
                      <a:gd name="connsiteX2" fmla="*/ 75702 w 87723"/>
                      <a:gd name="connsiteY2" fmla="*/ 87399 h 87399"/>
                      <a:gd name="connsiteX3" fmla="*/ 10884 w 87723"/>
                      <a:gd name="connsiteY3" fmla="*/ 87399 h 87399"/>
                      <a:gd name="connsiteX4" fmla="*/ 27292 w 87723"/>
                      <a:gd name="connsiteY4" fmla="*/ 59051 h 87399"/>
                      <a:gd name="connsiteX5" fmla="*/ 0 w 87723"/>
                      <a:gd name="connsiteY5" fmla="*/ 64331 h 87399"/>
                      <a:gd name="connsiteX6" fmla="*/ 0 w 87723"/>
                      <a:gd name="connsiteY6" fmla="*/ 26155 h 87399"/>
                      <a:gd name="connsiteX7" fmla="*/ 31922 w 87723"/>
                      <a:gd name="connsiteY7" fmla="*/ 33221 h 87399"/>
                      <a:gd name="connsiteX8" fmla="*/ 24693 w 87723"/>
                      <a:gd name="connsiteY8" fmla="*/ 0 h 87399"/>
                      <a:gd name="connsiteX9" fmla="*/ 63843 w 87723"/>
                      <a:gd name="connsiteY9" fmla="*/ 0 h 87399"/>
                      <a:gd name="connsiteX10" fmla="*/ 56939 w 87723"/>
                      <a:gd name="connsiteY10" fmla="*/ 32328 h 87399"/>
                      <a:gd name="connsiteX11" fmla="*/ 87724 w 87723"/>
                      <a:gd name="connsiteY11" fmla="*/ 25992 h 87399"/>
                      <a:gd name="connsiteX12" fmla="*/ 87724 w 87723"/>
                      <a:gd name="connsiteY12" fmla="*/ 63356 h 873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87723" h="87399">
                        <a:moveTo>
                          <a:pt x="87724" y="63275"/>
                        </a:moveTo>
                        <a:cubicBezTo>
                          <a:pt x="77814" y="60919"/>
                          <a:pt x="69935" y="59132"/>
                          <a:pt x="60432" y="56939"/>
                        </a:cubicBezTo>
                        <a:cubicBezTo>
                          <a:pt x="65549" y="67174"/>
                          <a:pt x="70179" y="76352"/>
                          <a:pt x="75702" y="87399"/>
                        </a:cubicBezTo>
                        <a:lnTo>
                          <a:pt x="10884" y="87399"/>
                        </a:lnTo>
                        <a:cubicBezTo>
                          <a:pt x="16570" y="77571"/>
                          <a:pt x="21362" y="69286"/>
                          <a:pt x="27292" y="59051"/>
                        </a:cubicBezTo>
                        <a:cubicBezTo>
                          <a:pt x="17220" y="61001"/>
                          <a:pt x="9341" y="62544"/>
                          <a:pt x="0" y="64331"/>
                        </a:cubicBezTo>
                        <a:lnTo>
                          <a:pt x="0" y="26155"/>
                        </a:lnTo>
                        <a:cubicBezTo>
                          <a:pt x="11209" y="28673"/>
                          <a:pt x="20956" y="30785"/>
                          <a:pt x="31922" y="33221"/>
                        </a:cubicBezTo>
                        <a:cubicBezTo>
                          <a:pt x="29485" y="21850"/>
                          <a:pt x="27211" y="11615"/>
                          <a:pt x="24693" y="0"/>
                        </a:cubicBezTo>
                        <a:lnTo>
                          <a:pt x="63843" y="0"/>
                        </a:lnTo>
                        <a:cubicBezTo>
                          <a:pt x="61650" y="10234"/>
                          <a:pt x="59539" y="20306"/>
                          <a:pt x="56939" y="32328"/>
                        </a:cubicBezTo>
                        <a:cubicBezTo>
                          <a:pt x="67986" y="30054"/>
                          <a:pt x="77408" y="28104"/>
                          <a:pt x="87724" y="25992"/>
                        </a:cubicBezTo>
                        <a:lnTo>
                          <a:pt x="87724" y="6335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94" name="Полилиния: фигура 93">
                    <a:extLst>
                      <a:ext uri="{FF2B5EF4-FFF2-40B4-BE49-F238E27FC236}">
                        <a16:creationId xmlns:a16="http://schemas.microsoft.com/office/drawing/2014/main" id="{55AE62AF-2675-4C16-A256-E55786484B4D}"/>
                      </a:ext>
                    </a:extLst>
                  </p:cNvPr>
                  <p:cNvSpPr/>
                  <p:nvPr/>
                </p:nvSpPr>
                <p:spPr>
                  <a:xfrm>
                    <a:off x="1714840" y="2362098"/>
                    <a:ext cx="87236" cy="87967"/>
                  </a:xfrm>
                  <a:custGeom>
                    <a:avLst/>
                    <a:gdLst>
                      <a:gd name="connsiteX0" fmla="*/ 87237 w 87236"/>
                      <a:gd name="connsiteY0" fmla="*/ 63031 h 87967"/>
                      <a:gd name="connsiteX1" fmla="*/ 60432 w 87236"/>
                      <a:gd name="connsiteY1" fmla="*/ 57345 h 87967"/>
                      <a:gd name="connsiteX2" fmla="*/ 75621 w 87236"/>
                      <a:gd name="connsiteY2" fmla="*/ 87968 h 87967"/>
                      <a:gd name="connsiteX3" fmla="*/ 10316 w 87236"/>
                      <a:gd name="connsiteY3" fmla="*/ 87968 h 87967"/>
                      <a:gd name="connsiteX4" fmla="*/ 28348 w 87236"/>
                      <a:gd name="connsiteY4" fmla="*/ 59051 h 87967"/>
                      <a:gd name="connsiteX5" fmla="*/ 0 w 87236"/>
                      <a:gd name="connsiteY5" fmla="*/ 64818 h 87967"/>
                      <a:gd name="connsiteX6" fmla="*/ 0 w 87236"/>
                      <a:gd name="connsiteY6" fmla="*/ 27048 h 87967"/>
                      <a:gd name="connsiteX7" fmla="*/ 31841 w 87236"/>
                      <a:gd name="connsiteY7" fmla="*/ 33140 h 87967"/>
                      <a:gd name="connsiteX8" fmla="*/ 25018 w 87236"/>
                      <a:gd name="connsiteY8" fmla="*/ 0 h 87967"/>
                      <a:gd name="connsiteX9" fmla="*/ 63762 w 87236"/>
                      <a:gd name="connsiteY9" fmla="*/ 0 h 87967"/>
                      <a:gd name="connsiteX10" fmla="*/ 57264 w 87236"/>
                      <a:gd name="connsiteY10" fmla="*/ 32572 h 87967"/>
                      <a:gd name="connsiteX11" fmla="*/ 87237 w 87236"/>
                      <a:gd name="connsiteY11" fmla="*/ 26236 h 87967"/>
                      <a:gd name="connsiteX12" fmla="*/ 87237 w 87236"/>
                      <a:gd name="connsiteY12" fmla="*/ 63112 h 8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87236" h="87967">
                        <a:moveTo>
                          <a:pt x="87237" y="63031"/>
                        </a:moveTo>
                        <a:cubicBezTo>
                          <a:pt x="77896" y="61001"/>
                          <a:pt x="70098" y="59376"/>
                          <a:pt x="60432" y="57345"/>
                        </a:cubicBezTo>
                        <a:cubicBezTo>
                          <a:pt x="65712" y="67905"/>
                          <a:pt x="70260" y="77083"/>
                          <a:pt x="75621" y="87968"/>
                        </a:cubicBezTo>
                        <a:lnTo>
                          <a:pt x="10316" y="87968"/>
                        </a:lnTo>
                        <a:cubicBezTo>
                          <a:pt x="16570" y="77977"/>
                          <a:pt x="21606" y="69854"/>
                          <a:pt x="28348" y="59051"/>
                        </a:cubicBezTo>
                        <a:cubicBezTo>
                          <a:pt x="17545" y="61244"/>
                          <a:pt x="9503" y="62869"/>
                          <a:pt x="0" y="64818"/>
                        </a:cubicBezTo>
                        <a:lnTo>
                          <a:pt x="0" y="27048"/>
                        </a:lnTo>
                        <a:cubicBezTo>
                          <a:pt x="9991" y="28916"/>
                          <a:pt x="20225" y="30866"/>
                          <a:pt x="31841" y="33140"/>
                        </a:cubicBezTo>
                        <a:cubicBezTo>
                          <a:pt x="29566" y="22175"/>
                          <a:pt x="27454" y="11778"/>
                          <a:pt x="25018" y="0"/>
                        </a:cubicBezTo>
                        <a:lnTo>
                          <a:pt x="63762" y="0"/>
                        </a:lnTo>
                        <a:cubicBezTo>
                          <a:pt x="61651" y="10559"/>
                          <a:pt x="59701" y="20469"/>
                          <a:pt x="57264" y="32572"/>
                        </a:cubicBezTo>
                        <a:cubicBezTo>
                          <a:pt x="67661" y="30378"/>
                          <a:pt x="76840" y="28429"/>
                          <a:pt x="87237" y="26236"/>
                        </a:cubicBezTo>
                        <a:lnTo>
                          <a:pt x="87237" y="631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812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</p:grpSp>
          </p:grpSp>
        </p:grpSp>
        <p:grpSp>
          <p:nvGrpSpPr>
            <p:cNvPr id="122" name="Группа 121">
              <a:extLst>
                <a:ext uri="{FF2B5EF4-FFF2-40B4-BE49-F238E27FC236}">
                  <a16:creationId xmlns:a16="http://schemas.microsoft.com/office/drawing/2014/main" id="{97E4C4B1-560F-4AB1-9A71-63EA9892C583}"/>
                </a:ext>
              </a:extLst>
            </p:cNvPr>
            <p:cNvGrpSpPr/>
            <p:nvPr/>
          </p:nvGrpSpPr>
          <p:grpSpPr>
            <a:xfrm>
              <a:off x="4663707" y="1845701"/>
              <a:ext cx="2864586" cy="482565"/>
              <a:chOff x="5295900" y="3295650"/>
              <a:chExt cx="1602961" cy="270033"/>
            </a:xfrm>
          </p:grpSpPr>
          <p:sp>
            <p:nvSpPr>
              <p:cNvPr id="99" name="Полилиния: фигура 98">
                <a:extLst>
                  <a:ext uri="{FF2B5EF4-FFF2-40B4-BE49-F238E27FC236}">
                    <a16:creationId xmlns:a16="http://schemas.microsoft.com/office/drawing/2014/main" id="{08BF3F6A-D0E1-4747-B318-AA787E628923}"/>
                  </a:ext>
                </a:extLst>
              </p:cNvPr>
              <p:cNvSpPr/>
              <p:nvPr/>
            </p:nvSpPr>
            <p:spPr>
              <a:xfrm>
                <a:off x="5295900" y="3376612"/>
                <a:ext cx="137921" cy="186118"/>
              </a:xfrm>
              <a:custGeom>
                <a:avLst/>
                <a:gdLst>
                  <a:gd name="connsiteX0" fmla="*/ 70485 w 137921"/>
                  <a:gd name="connsiteY0" fmla="*/ 186119 h 186118"/>
                  <a:gd name="connsiteX1" fmla="*/ 134303 w 137921"/>
                  <a:gd name="connsiteY1" fmla="*/ 75533 h 186118"/>
                  <a:gd name="connsiteX2" fmla="*/ 137922 w 137921"/>
                  <a:gd name="connsiteY2" fmla="*/ 60865 h 186118"/>
                  <a:gd name="connsiteX3" fmla="*/ 134969 w 137921"/>
                  <a:gd name="connsiteY3" fmla="*/ 47530 h 186118"/>
                  <a:gd name="connsiteX4" fmla="*/ 107537 w 137921"/>
                  <a:gd name="connsiteY4" fmla="*/ 0 h 186118"/>
                  <a:gd name="connsiteX5" fmla="*/ 0 w 137921"/>
                  <a:gd name="connsiteY5" fmla="*/ 186119 h 186118"/>
                  <a:gd name="connsiteX6" fmla="*/ 70485 w 137921"/>
                  <a:gd name="connsiteY6" fmla="*/ 186119 h 186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7921" h="186118">
                    <a:moveTo>
                      <a:pt x="70485" y="186119"/>
                    </a:moveTo>
                    <a:lnTo>
                      <a:pt x="134303" y="75533"/>
                    </a:lnTo>
                    <a:cubicBezTo>
                      <a:pt x="136589" y="71152"/>
                      <a:pt x="137922" y="66199"/>
                      <a:pt x="137922" y="60865"/>
                    </a:cubicBezTo>
                    <a:cubicBezTo>
                      <a:pt x="137922" y="56102"/>
                      <a:pt x="136874" y="51530"/>
                      <a:pt x="134969" y="47530"/>
                    </a:cubicBezTo>
                    <a:lnTo>
                      <a:pt x="107537" y="0"/>
                    </a:lnTo>
                    <a:lnTo>
                      <a:pt x="0" y="186119"/>
                    </a:lnTo>
                    <a:lnTo>
                      <a:pt x="70485" y="186119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100" name="Полилиния: фигура 99">
                <a:extLst>
                  <a:ext uri="{FF2B5EF4-FFF2-40B4-BE49-F238E27FC236}">
                    <a16:creationId xmlns:a16="http://schemas.microsoft.com/office/drawing/2014/main" id="{C214F238-7A8D-4102-8C24-5AD7A2D6BAB8}"/>
                  </a:ext>
                </a:extLst>
              </p:cNvPr>
              <p:cNvSpPr/>
              <p:nvPr/>
            </p:nvSpPr>
            <p:spPr>
              <a:xfrm>
                <a:off x="5389435" y="3501770"/>
                <a:ext cx="214884" cy="61055"/>
              </a:xfrm>
              <a:custGeom>
                <a:avLst/>
                <a:gdLst>
                  <a:gd name="connsiteX0" fmla="*/ 179642 w 214884"/>
                  <a:gd name="connsiteY0" fmla="*/ 95 h 61055"/>
                  <a:gd name="connsiteX1" fmla="*/ 52007 w 214884"/>
                  <a:gd name="connsiteY1" fmla="*/ 95 h 61055"/>
                  <a:gd name="connsiteX2" fmla="*/ 37529 w 214884"/>
                  <a:gd name="connsiteY2" fmla="*/ 4286 h 61055"/>
                  <a:gd name="connsiteX3" fmla="*/ 27432 w 214884"/>
                  <a:gd name="connsiteY3" fmla="*/ 13526 h 61055"/>
                  <a:gd name="connsiteX4" fmla="*/ 0 w 214884"/>
                  <a:gd name="connsiteY4" fmla="*/ 61055 h 61055"/>
                  <a:gd name="connsiteX5" fmla="*/ 214884 w 214884"/>
                  <a:gd name="connsiteY5" fmla="*/ 61055 h 61055"/>
                  <a:gd name="connsiteX6" fmla="*/ 179642 w 214884"/>
                  <a:gd name="connsiteY6" fmla="*/ 0 h 6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884" h="61055">
                    <a:moveTo>
                      <a:pt x="179642" y="95"/>
                    </a:moveTo>
                    <a:lnTo>
                      <a:pt x="52007" y="95"/>
                    </a:lnTo>
                    <a:cubicBezTo>
                      <a:pt x="47149" y="381"/>
                      <a:pt x="42101" y="1619"/>
                      <a:pt x="37529" y="4286"/>
                    </a:cubicBezTo>
                    <a:cubicBezTo>
                      <a:pt x="33338" y="6668"/>
                      <a:pt x="30004" y="9906"/>
                      <a:pt x="27432" y="13526"/>
                    </a:cubicBezTo>
                    <a:lnTo>
                      <a:pt x="0" y="61055"/>
                    </a:lnTo>
                    <a:lnTo>
                      <a:pt x="214884" y="61055"/>
                    </a:lnTo>
                    <a:cubicBezTo>
                      <a:pt x="214884" y="61055"/>
                      <a:pt x="179642" y="0"/>
                      <a:pt x="17964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sp>
            <p:nvSpPr>
              <p:cNvPr id="101" name="Полилиния: фигура 100">
                <a:extLst>
                  <a:ext uri="{FF2B5EF4-FFF2-40B4-BE49-F238E27FC236}">
                    <a16:creationId xmlns:a16="http://schemas.microsoft.com/office/drawing/2014/main" id="{D3F4CB7C-2690-4C58-9E60-84876577F312}"/>
                  </a:ext>
                </a:extLst>
              </p:cNvPr>
              <p:cNvSpPr/>
              <p:nvPr/>
            </p:nvSpPr>
            <p:spPr>
              <a:xfrm>
                <a:off x="5414771" y="3295650"/>
                <a:ext cx="142589" cy="186213"/>
              </a:xfrm>
              <a:custGeom>
                <a:avLst/>
                <a:gdLst>
                  <a:gd name="connsiteX0" fmla="*/ 0 w 142589"/>
                  <a:gd name="connsiteY0" fmla="*/ 61055 h 186213"/>
                  <a:gd name="connsiteX1" fmla="*/ 63818 w 142589"/>
                  <a:gd name="connsiteY1" fmla="*/ 171641 h 186213"/>
                  <a:gd name="connsiteX2" fmla="*/ 74676 w 142589"/>
                  <a:gd name="connsiteY2" fmla="*/ 182118 h 186213"/>
                  <a:gd name="connsiteX3" fmla="*/ 87725 w 142589"/>
                  <a:gd name="connsiteY3" fmla="*/ 186214 h 186213"/>
                  <a:gd name="connsiteX4" fmla="*/ 142589 w 142589"/>
                  <a:gd name="connsiteY4" fmla="*/ 186214 h 186213"/>
                  <a:gd name="connsiteX5" fmla="*/ 35338 w 142589"/>
                  <a:gd name="connsiteY5" fmla="*/ 0 h 186213"/>
                  <a:gd name="connsiteX6" fmla="*/ 95 w 142589"/>
                  <a:gd name="connsiteY6" fmla="*/ 61055 h 186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589" h="186213">
                    <a:moveTo>
                      <a:pt x="0" y="61055"/>
                    </a:moveTo>
                    <a:lnTo>
                      <a:pt x="63818" y="171641"/>
                    </a:lnTo>
                    <a:cubicBezTo>
                      <a:pt x="66484" y="175831"/>
                      <a:pt x="70104" y="179451"/>
                      <a:pt x="74676" y="182118"/>
                    </a:cubicBezTo>
                    <a:cubicBezTo>
                      <a:pt x="78772" y="184499"/>
                      <a:pt x="83249" y="185833"/>
                      <a:pt x="87725" y="186214"/>
                    </a:cubicBezTo>
                    <a:lnTo>
                      <a:pt x="142589" y="186214"/>
                    </a:lnTo>
                    <a:lnTo>
                      <a:pt x="35338" y="0"/>
                    </a:lnTo>
                    <a:lnTo>
                      <a:pt x="95" y="6105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2889073" hangingPunct="0">
                  <a:defRPr/>
                </a:pPr>
                <a:endParaRPr lang="ru-RU" sz="2845" kern="0">
                  <a:solidFill>
                    <a:srgbClr val="5E5E5E"/>
                  </a:solidFill>
                  <a:latin typeface="Montserrat"/>
                  <a:sym typeface="Helvetica Neue"/>
                </a:endParaRPr>
              </a:p>
            </p:txBody>
          </p:sp>
          <p:grpSp>
            <p:nvGrpSpPr>
              <p:cNvPr id="102" name="Рисунок 96">
                <a:extLst>
                  <a:ext uri="{FF2B5EF4-FFF2-40B4-BE49-F238E27FC236}">
                    <a16:creationId xmlns:a16="http://schemas.microsoft.com/office/drawing/2014/main" id="{5A951C4E-4D99-4A7C-910F-6D2F7C1140C4}"/>
                  </a:ext>
                </a:extLst>
              </p:cNvPr>
              <p:cNvGrpSpPr/>
              <p:nvPr/>
            </p:nvGrpSpPr>
            <p:grpSpPr>
              <a:xfrm>
                <a:off x="5677471" y="3304698"/>
                <a:ext cx="1221390" cy="260985"/>
                <a:chOff x="5677471" y="3304698"/>
                <a:chExt cx="1221390" cy="260985"/>
              </a:xfrm>
              <a:solidFill>
                <a:srgbClr val="FFFFFF"/>
              </a:solidFill>
            </p:grpSpPr>
            <p:grpSp>
              <p:nvGrpSpPr>
                <p:cNvPr id="103" name="Рисунок 96">
                  <a:extLst>
                    <a:ext uri="{FF2B5EF4-FFF2-40B4-BE49-F238E27FC236}">
                      <a16:creationId xmlns:a16="http://schemas.microsoft.com/office/drawing/2014/main" id="{2AA5CAC5-34EC-4581-AD40-68865786F4DF}"/>
                    </a:ext>
                  </a:extLst>
                </p:cNvPr>
                <p:cNvGrpSpPr/>
                <p:nvPr/>
              </p:nvGrpSpPr>
              <p:grpSpPr>
                <a:xfrm>
                  <a:off x="5677566" y="3304698"/>
                  <a:ext cx="1221295" cy="119348"/>
                  <a:chOff x="5677566" y="3304698"/>
                  <a:chExt cx="1221295" cy="119348"/>
                </a:xfrm>
                <a:solidFill>
                  <a:srgbClr val="FFFFFF"/>
                </a:solidFill>
              </p:grpSpPr>
              <p:sp>
                <p:nvSpPr>
                  <p:cNvPr id="104" name="Полилиния: фигура 103">
                    <a:extLst>
                      <a:ext uri="{FF2B5EF4-FFF2-40B4-BE49-F238E27FC236}">
                        <a16:creationId xmlns:a16="http://schemas.microsoft.com/office/drawing/2014/main" id="{34A1006B-1AFF-4EF8-9CBE-6D45A8AB4BC5}"/>
                      </a:ext>
                    </a:extLst>
                  </p:cNvPr>
                  <p:cNvSpPr/>
                  <p:nvPr/>
                </p:nvSpPr>
                <p:spPr>
                  <a:xfrm>
                    <a:off x="5677566" y="3307556"/>
                    <a:ext cx="105727" cy="113633"/>
                  </a:xfrm>
                  <a:custGeom>
                    <a:avLst/>
                    <a:gdLst>
                      <a:gd name="connsiteX0" fmla="*/ 84868 w 105727"/>
                      <a:gd name="connsiteY0" fmla="*/ 113633 h 113633"/>
                      <a:gd name="connsiteX1" fmla="*/ 86963 w 105727"/>
                      <a:gd name="connsiteY1" fmla="*/ 20288 h 113633"/>
                      <a:gd name="connsiteX2" fmla="*/ 62389 w 105727"/>
                      <a:gd name="connsiteY2" fmla="*/ 113633 h 113633"/>
                      <a:gd name="connsiteX3" fmla="*/ 43244 w 105727"/>
                      <a:gd name="connsiteY3" fmla="*/ 113633 h 113633"/>
                      <a:gd name="connsiteX4" fmla="*/ 18669 w 105727"/>
                      <a:gd name="connsiteY4" fmla="*/ 20288 h 113633"/>
                      <a:gd name="connsiteX5" fmla="*/ 20765 w 105727"/>
                      <a:gd name="connsiteY5" fmla="*/ 113633 h 113633"/>
                      <a:gd name="connsiteX6" fmla="*/ 0 w 105727"/>
                      <a:gd name="connsiteY6" fmla="*/ 113633 h 113633"/>
                      <a:gd name="connsiteX7" fmla="*/ 0 w 105727"/>
                      <a:gd name="connsiteY7" fmla="*/ 0 h 113633"/>
                      <a:gd name="connsiteX8" fmla="*/ 30861 w 105727"/>
                      <a:gd name="connsiteY8" fmla="*/ 0 h 113633"/>
                      <a:gd name="connsiteX9" fmla="*/ 53054 w 105727"/>
                      <a:gd name="connsiteY9" fmla="*/ 84296 h 113633"/>
                      <a:gd name="connsiteX10" fmla="*/ 74962 w 105727"/>
                      <a:gd name="connsiteY10" fmla="*/ 0 h 113633"/>
                      <a:gd name="connsiteX11" fmla="*/ 105727 w 105727"/>
                      <a:gd name="connsiteY11" fmla="*/ 0 h 113633"/>
                      <a:gd name="connsiteX12" fmla="*/ 105727 w 105727"/>
                      <a:gd name="connsiteY12" fmla="*/ 113538 h 113633"/>
                      <a:gd name="connsiteX13" fmla="*/ 84963 w 105727"/>
                      <a:gd name="connsiteY13" fmla="*/ 113538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05727" h="113633">
                        <a:moveTo>
                          <a:pt x="84868" y="113633"/>
                        </a:moveTo>
                        <a:cubicBezTo>
                          <a:pt x="84868" y="110871"/>
                          <a:pt x="86963" y="20288"/>
                          <a:pt x="86963" y="20288"/>
                        </a:cubicBezTo>
                        <a:lnTo>
                          <a:pt x="62389" y="113633"/>
                        </a:lnTo>
                        <a:lnTo>
                          <a:pt x="43244" y="113633"/>
                        </a:lnTo>
                        <a:lnTo>
                          <a:pt x="18669" y="20288"/>
                        </a:lnTo>
                        <a:cubicBezTo>
                          <a:pt x="18669" y="20288"/>
                          <a:pt x="20765" y="109919"/>
                          <a:pt x="20765" y="113633"/>
                        </a:cubicBez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30861" y="0"/>
                        </a:lnTo>
                        <a:lnTo>
                          <a:pt x="53054" y="84296"/>
                        </a:lnTo>
                        <a:lnTo>
                          <a:pt x="74962" y="0"/>
                        </a:lnTo>
                        <a:lnTo>
                          <a:pt x="105727" y="0"/>
                        </a:lnTo>
                        <a:lnTo>
                          <a:pt x="105727" y="113538"/>
                        </a:lnTo>
                        <a:lnTo>
                          <a:pt x="84963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05" name="Полилиния: фигура 104">
                    <a:extLst>
                      <a:ext uri="{FF2B5EF4-FFF2-40B4-BE49-F238E27FC236}">
                        <a16:creationId xmlns:a16="http://schemas.microsoft.com/office/drawing/2014/main" id="{5AC501DB-2B80-4C7B-8ED3-F2322D6DB1C9}"/>
                      </a:ext>
                    </a:extLst>
                  </p:cNvPr>
                  <p:cNvSpPr/>
                  <p:nvPr/>
                </p:nvSpPr>
                <p:spPr>
                  <a:xfrm>
                    <a:off x="5808726" y="3307556"/>
                    <a:ext cx="93344" cy="113633"/>
                  </a:xfrm>
                  <a:custGeom>
                    <a:avLst/>
                    <a:gdLst>
                      <a:gd name="connsiteX0" fmla="*/ 93345 w 93344"/>
                      <a:gd name="connsiteY0" fmla="*/ 113633 h 113633"/>
                      <a:gd name="connsiteX1" fmla="*/ 72104 w 93344"/>
                      <a:gd name="connsiteY1" fmla="*/ 113633 h 113633"/>
                      <a:gd name="connsiteX2" fmla="*/ 72104 w 93344"/>
                      <a:gd name="connsiteY2" fmla="*/ 39338 h 113633"/>
                      <a:gd name="connsiteX3" fmla="*/ 21241 w 93344"/>
                      <a:gd name="connsiteY3" fmla="*/ 100108 h 113633"/>
                      <a:gd name="connsiteX4" fmla="*/ 21241 w 93344"/>
                      <a:gd name="connsiteY4" fmla="*/ 113633 h 113633"/>
                      <a:gd name="connsiteX5" fmla="*/ 0 w 93344"/>
                      <a:gd name="connsiteY5" fmla="*/ 113633 h 113633"/>
                      <a:gd name="connsiteX6" fmla="*/ 0 w 93344"/>
                      <a:gd name="connsiteY6" fmla="*/ 0 h 113633"/>
                      <a:gd name="connsiteX7" fmla="*/ 21241 w 93344"/>
                      <a:gd name="connsiteY7" fmla="*/ 0 h 113633"/>
                      <a:gd name="connsiteX8" fmla="*/ 21241 w 93344"/>
                      <a:gd name="connsiteY8" fmla="*/ 73628 h 113633"/>
                      <a:gd name="connsiteX9" fmla="*/ 72104 w 93344"/>
                      <a:gd name="connsiteY9" fmla="*/ 12859 h 113633"/>
                      <a:gd name="connsiteX10" fmla="*/ 72104 w 93344"/>
                      <a:gd name="connsiteY10" fmla="*/ 0 h 113633"/>
                      <a:gd name="connsiteX11" fmla="*/ 93345 w 93344"/>
                      <a:gd name="connsiteY11" fmla="*/ 0 h 113633"/>
                      <a:gd name="connsiteX12" fmla="*/ 93345 w 93344"/>
                      <a:gd name="connsiteY12" fmla="*/ 113538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93344" h="113633">
                        <a:moveTo>
                          <a:pt x="93345" y="113633"/>
                        </a:moveTo>
                        <a:lnTo>
                          <a:pt x="72104" y="113633"/>
                        </a:lnTo>
                        <a:lnTo>
                          <a:pt x="72104" y="39338"/>
                        </a:lnTo>
                        <a:lnTo>
                          <a:pt x="21241" y="100108"/>
                        </a:lnTo>
                        <a:lnTo>
                          <a:pt x="21241" y="113633"/>
                        </a:ln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21241" y="0"/>
                        </a:lnTo>
                        <a:lnTo>
                          <a:pt x="21241" y="73628"/>
                        </a:lnTo>
                        <a:lnTo>
                          <a:pt x="72104" y="12859"/>
                        </a:lnTo>
                        <a:lnTo>
                          <a:pt x="72104" y="0"/>
                        </a:lnTo>
                        <a:lnTo>
                          <a:pt x="93345" y="0"/>
                        </a:lnTo>
                        <a:lnTo>
                          <a:pt x="93345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06" name="Полилиния: фигура 105">
                    <a:extLst>
                      <a:ext uri="{FF2B5EF4-FFF2-40B4-BE49-F238E27FC236}">
                        <a16:creationId xmlns:a16="http://schemas.microsoft.com/office/drawing/2014/main" id="{E594D4EF-A49E-4EA5-AE89-F53B644A8E5C}"/>
                      </a:ext>
                    </a:extLst>
                  </p:cNvPr>
                  <p:cNvSpPr/>
                  <p:nvPr/>
                </p:nvSpPr>
                <p:spPr>
                  <a:xfrm>
                    <a:off x="5927693" y="3307556"/>
                    <a:ext cx="91630" cy="113633"/>
                  </a:xfrm>
                  <a:custGeom>
                    <a:avLst/>
                    <a:gdLst>
                      <a:gd name="connsiteX0" fmla="*/ 70199 w 91630"/>
                      <a:gd name="connsiteY0" fmla="*/ 113633 h 113633"/>
                      <a:gd name="connsiteX1" fmla="*/ 70199 w 91630"/>
                      <a:gd name="connsiteY1" fmla="*/ 62008 h 113633"/>
                      <a:gd name="connsiteX2" fmla="*/ 21431 w 91630"/>
                      <a:gd name="connsiteY2" fmla="*/ 62008 h 113633"/>
                      <a:gd name="connsiteX3" fmla="*/ 21431 w 91630"/>
                      <a:gd name="connsiteY3" fmla="*/ 113633 h 113633"/>
                      <a:gd name="connsiteX4" fmla="*/ 0 w 91630"/>
                      <a:gd name="connsiteY4" fmla="*/ 113633 h 113633"/>
                      <a:gd name="connsiteX5" fmla="*/ 0 w 91630"/>
                      <a:gd name="connsiteY5" fmla="*/ 0 h 113633"/>
                      <a:gd name="connsiteX6" fmla="*/ 21431 w 91630"/>
                      <a:gd name="connsiteY6" fmla="*/ 0 h 113633"/>
                      <a:gd name="connsiteX7" fmla="*/ 21431 w 91630"/>
                      <a:gd name="connsiteY7" fmla="*/ 42767 h 113633"/>
                      <a:gd name="connsiteX8" fmla="*/ 70199 w 91630"/>
                      <a:gd name="connsiteY8" fmla="*/ 42767 h 113633"/>
                      <a:gd name="connsiteX9" fmla="*/ 70199 w 91630"/>
                      <a:gd name="connsiteY9" fmla="*/ 0 h 113633"/>
                      <a:gd name="connsiteX10" fmla="*/ 91630 w 91630"/>
                      <a:gd name="connsiteY10" fmla="*/ 0 h 113633"/>
                      <a:gd name="connsiteX11" fmla="*/ 91630 w 91630"/>
                      <a:gd name="connsiteY11" fmla="*/ 113538 h 113633"/>
                      <a:gd name="connsiteX12" fmla="*/ 70199 w 91630"/>
                      <a:gd name="connsiteY12" fmla="*/ 113538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91630" h="113633">
                        <a:moveTo>
                          <a:pt x="70199" y="113633"/>
                        </a:moveTo>
                        <a:lnTo>
                          <a:pt x="70199" y="62008"/>
                        </a:lnTo>
                        <a:lnTo>
                          <a:pt x="21431" y="62008"/>
                        </a:lnTo>
                        <a:lnTo>
                          <a:pt x="21431" y="113633"/>
                        </a:ln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21431" y="0"/>
                        </a:lnTo>
                        <a:lnTo>
                          <a:pt x="21431" y="42767"/>
                        </a:lnTo>
                        <a:lnTo>
                          <a:pt x="70199" y="42767"/>
                        </a:lnTo>
                        <a:lnTo>
                          <a:pt x="70199" y="0"/>
                        </a:lnTo>
                        <a:lnTo>
                          <a:pt x="91630" y="0"/>
                        </a:lnTo>
                        <a:lnTo>
                          <a:pt x="91630" y="113538"/>
                        </a:lnTo>
                        <a:lnTo>
                          <a:pt x="70199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07" name="Полилиния: фигура 106">
                    <a:extLst>
                      <a:ext uri="{FF2B5EF4-FFF2-40B4-BE49-F238E27FC236}">
                        <a16:creationId xmlns:a16="http://schemas.microsoft.com/office/drawing/2014/main" id="{DE0EE70D-7D01-4240-B8C1-A5F9F1CCD4B5}"/>
                      </a:ext>
                    </a:extLst>
                  </p:cNvPr>
                  <p:cNvSpPr/>
                  <p:nvPr/>
                </p:nvSpPr>
                <p:spPr>
                  <a:xfrm>
                    <a:off x="6045041" y="3307556"/>
                    <a:ext cx="90106" cy="113633"/>
                  </a:xfrm>
                  <a:custGeom>
                    <a:avLst/>
                    <a:gdLst>
                      <a:gd name="connsiteX0" fmla="*/ 90106 w 90106"/>
                      <a:gd name="connsiteY0" fmla="*/ 0 h 113633"/>
                      <a:gd name="connsiteX1" fmla="*/ 90106 w 90106"/>
                      <a:gd name="connsiteY1" fmla="*/ 113538 h 113633"/>
                      <a:gd name="connsiteX2" fmla="*/ 68866 w 90106"/>
                      <a:gd name="connsiteY2" fmla="*/ 113538 h 113633"/>
                      <a:gd name="connsiteX3" fmla="*/ 68866 w 90106"/>
                      <a:gd name="connsiteY3" fmla="*/ 19336 h 113633"/>
                      <a:gd name="connsiteX4" fmla="*/ 21241 w 90106"/>
                      <a:gd name="connsiteY4" fmla="*/ 19336 h 113633"/>
                      <a:gd name="connsiteX5" fmla="*/ 21241 w 90106"/>
                      <a:gd name="connsiteY5" fmla="*/ 113633 h 113633"/>
                      <a:gd name="connsiteX6" fmla="*/ 0 w 90106"/>
                      <a:gd name="connsiteY6" fmla="*/ 113633 h 113633"/>
                      <a:gd name="connsiteX7" fmla="*/ 0 w 90106"/>
                      <a:gd name="connsiteY7" fmla="*/ 0 h 113633"/>
                      <a:gd name="connsiteX8" fmla="*/ 90106 w 90106"/>
                      <a:gd name="connsiteY8" fmla="*/ 0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0106" h="113633">
                        <a:moveTo>
                          <a:pt x="90106" y="0"/>
                        </a:moveTo>
                        <a:lnTo>
                          <a:pt x="90106" y="113538"/>
                        </a:lnTo>
                        <a:lnTo>
                          <a:pt x="68866" y="113538"/>
                        </a:lnTo>
                        <a:lnTo>
                          <a:pt x="68866" y="19336"/>
                        </a:lnTo>
                        <a:lnTo>
                          <a:pt x="21241" y="19336"/>
                        </a:lnTo>
                        <a:lnTo>
                          <a:pt x="21241" y="113633"/>
                        </a:ln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9010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08" name="Полилиния: фигура 107">
                    <a:extLst>
                      <a:ext uri="{FF2B5EF4-FFF2-40B4-BE49-F238E27FC236}">
                        <a16:creationId xmlns:a16="http://schemas.microsoft.com/office/drawing/2014/main" id="{8CBDA350-7F24-489E-80AF-89A0A9303774}"/>
                      </a:ext>
                    </a:extLst>
                  </p:cNvPr>
                  <p:cNvSpPr/>
                  <p:nvPr/>
                </p:nvSpPr>
                <p:spPr>
                  <a:xfrm>
                    <a:off x="6161150" y="3307556"/>
                    <a:ext cx="84486" cy="113538"/>
                  </a:xfrm>
                  <a:custGeom>
                    <a:avLst/>
                    <a:gdLst>
                      <a:gd name="connsiteX0" fmla="*/ 44101 w 84486"/>
                      <a:gd name="connsiteY0" fmla="*/ 0 h 113538"/>
                      <a:gd name="connsiteX1" fmla="*/ 84487 w 84486"/>
                      <a:gd name="connsiteY1" fmla="*/ 37814 h 113538"/>
                      <a:gd name="connsiteX2" fmla="*/ 42958 w 84486"/>
                      <a:gd name="connsiteY2" fmla="*/ 74962 h 113538"/>
                      <a:gd name="connsiteX3" fmla="*/ 21241 w 84486"/>
                      <a:gd name="connsiteY3" fmla="*/ 74962 h 113538"/>
                      <a:gd name="connsiteX4" fmla="*/ 21241 w 84486"/>
                      <a:gd name="connsiteY4" fmla="*/ 113538 h 113538"/>
                      <a:gd name="connsiteX5" fmla="*/ 0 w 84486"/>
                      <a:gd name="connsiteY5" fmla="*/ 113538 h 113538"/>
                      <a:gd name="connsiteX6" fmla="*/ 0 w 84486"/>
                      <a:gd name="connsiteY6" fmla="*/ 0 h 113538"/>
                      <a:gd name="connsiteX7" fmla="*/ 44101 w 84486"/>
                      <a:gd name="connsiteY7" fmla="*/ 0 h 113538"/>
                      <a:gd name="connsiteX8" fmla="*/ 21241 w 84486"/>
                      <a:gd name="connsiteY8" fmla="*/ 57626 h 113538"/>
                      <a:gd name="connsiteX9" fmla="*/ 39910 w 84486"/>
                      <a:gd name="connsiteY9" fmla="*/ 57626 h 113538"/>
                      <a:gd name="connsiteX10" fmla="*/ 62579 w 84486"/>
                      <a:gd name="connsiteY10" fmla="*/ 37243 h 113538"/>
                      <a:gd name="connsiteX11" fmla="*/ 37529 w 84486"/>
                      <a:gd name="connsiteY11" fmla="*/ 18288 h 113538"/>
                      <a:gd name="connsiteX12" fmla="*/ 21241 w 84486"/>
                      <a:gd name="connsiteY12" fmla="*/ 18288 h 113538"/>
                      <a:gd name="connsiteX13" fmla="*/ 21241 w 84486"/>
                      <a:gd name="connsiteY13" fmla="*/ 57722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4486" h="113538">
                        <a:moveTo>
                          <a:pt x="44101" y="0"/>
                        </a:moveTo>
                        <a:cubicBezTo>
                          <a:pt x="67532" y="0"/>
                          <a:pt x="84487" y="14478"/>
                          <a:pt x="84487" y="37814"/>
                        </a:cubicBezTo>
                        <a:cubicBezTo>
                          <a:pt x="84487" y="58388"/>
                          <a:pt x="72581" y="74962"/>
                          <a:pt x="42958" y="74962"/>
                        </a:cubicBezTo>
                        <a:lnTo>
                          <a:pt x="21241" y="74962"/>
                        </a:lnTo>
                        <a:lnTo>
                          <a:pt x="21241" y="113538"/>
                        </a:lnTo>
                        <a:lnTo>
                          <a:pt x="0" y="113538"/>
                        </a:lnTo>
                        <a:lnTo>
                          <a:pt x="0" y="0"/>
                        </a:lnTo>
                        <a:lnTo>
                          <a:pt x="44101" y="0"/>
                        </a:lnTo>
                        <a:close/>
                        <a:moveTo>
                          <a:pt x="21241" y="57626"/>
                        </a:moveTo>
                        <a:lnTo>
                          <a:pt x="39910" y="57626"/>
                        </a:lnTo>
                        <a:cubicBezTo>
                          <a:pt x="55055" y="57626"/>
                          <a:pt x="62579" y="50578"/>
                          <a:pt x="62579" y="37243"/>
                        </a:cubicBezTo>
                        <a:cubicBezTo>
                          <a:pt x="62579" y="18955"/>
                          <a:pt x="47816" y="18288"/>
                          <a:pt x="37529" y="18288"/>
                        </a:cubicBezTo>
                        <a:lnTo>
                          <a:pt x="21241" y="18288"/>
                        </a:lnTo>
                        <a:lnTo>
                          <a:pt x="21241" y="5772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09" name="Полилиния: фигура 108">
                    <a:extLst>
                      <a:ext uri="{FF2B5EF4-FFF2-40B4-BE49-F238E27FC236}">
                        <a16:creationId xmlns:a16="http://schemas.microsoft.com/office/drawing/2014/main" id="{6B5B5F3A-F32B-4ED7-9257-C29DB0502F3C}"/>
                      </a:ext>
                    </a:extLst>
                  </p:cNvPr>
                  <p:cNvSpPr/>
                  <p:nvPr/>
                </p:nvSpPr>
                <p:spPr>
                  <a:xfrm>
                    <a:off x="6256305" y="3304698"/>
                    <a:ext cx="108870" cy="119348"/>
                  </a:xfrm>
                  <a:custGeom>
                    <a:avLst/>
                    <a:gdLst>
                      <a:gd name="connsiteX0" fmla="*/ 54483 w 108870"/>
                      <a:gd name="connsiteY0" fmla="*/ 0 h 119348"/>
                      <a:gd name="connsiteX1" fmla="*/ 108871 w 108870"/>
                      <a:gd name="connsiteY1" fmla="*/ 59055 h 119348"/>
                      <a:gd name="connsiteX2" fmla="*/ 54007 w 108870"/>
                      <a:gd name="connsiteY2" fmla="*/ 119348 h 119348"/>
                      <a:gd name="connsiteX3" fmla="*/ 0 w 108870"/>
                      <a:gd name="connsiteY3" fmla="*/ 59817 h 119348"/>
                      <a:gd name="connsiteX4" fmla="*/ 54483 w 108870"/>
                      <a:gd name="connsiteY4" fmla="*/ 0 h 119348"/>
                      <a:gd name="connsiteX5" fmla="*/ 54673 w 108870"/>
                      <a:gd name="connsiteY5" fmla="*/ 99536 h 119348"/>
                      <a:gd name="connsiteX6" fmla="*/ 87440 w 108870"/>
                      <a:gd name="connsiteY6" fmla="*/ 60770 h 119348"/>
                      <a:gd name="connsiteX7" fmla="*/ 54292 w 108870"/>
                      <a:gd name="connsiteY7" fmla="*/ 19431 h 119348"/>
                      <a:gd name="connsiteX8" fmla="*/ 21812 w 108870"/>
                      <a:gd name="connsiteY8" fmla="*/ 58960 h 119348"/>
                      <a:gd name="connsiteX9" fmla="*/ 54673 w 108870"/>
                      <a:gd name="connsiteY9" fmla="*/ 99536 h 11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870" h="119348">
                        <a:moveTo>
                          <a:pt x="54483" y="0"/>
                        </a:moveTo>
                        <a:cubicBezTo>
                          <a:pt x="89059" y="0"/>
                          <a:pt x="108871" y="28289"/>
                          <a:pt x="108871" y="59055"/>
                        </a:cubicBezTo>
                        <a:cubicBezTo>
                          <a:pt x="108871" y="84773"/>
                          <a:pt x="94869" y="119348"/>
                          <a:pt x="54007" y="119348"/>
                        </a:cubicBezTo>
                        <a:cubicBezTo>
                          <a:pt x="20574" y="119348"/>
                          <a:pt x="0" y="91726"/>
                          <a:pt x="0" y="59817"/>
                        </a:cubicBezTo>
                        <a:cubicBezTo>
                          <a:pt x="0" y="27908"/>
                          <a:pt x="21717" y="0"/>
                          <a:pt x="54483" y="0"/>
                        </a:cubicBezTo>
                        <a:close/>
                        <a:moveTo>
                          <a:pt x="54673" y="99536"/>
                        </a:moveTo>
                        <a:cubicBezTo>
                          <a:pt x="71533" y="99536"/>
                          <a:pt x="87440" y="86487"/>
                          <a:pt x="87440" y="60770"/>
                        </a:cubicBezTo>
                        <a:cubicBezTo>
                          <a:pt x="87440" y="40481"/>
                          <a:pt x="76867" y="19431"/>
                          <a:pt x="54292" y="19431"/>
                        </a:cubicBezTo>
                        <a:cubicBezTo>
                          <a:pt x="35623" y="19431"/>
                          <a:pt x="21812" y="34100"/>
                          <a:pt x="21812" y="58960"/>
                        </a:cubicBezTo>
                        <a:cubicBezTo>
                          <a:pt x="21812" y="76676"/>
                          <a:pt x="30385" y="99536"/>
                          <a:pt x="54673" y="9953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0" name="Полилиния: фигура 109">
                    <a:extLst>
                      <a:ext uri="{FF2B5EF4-FFF2-40B4-BE49-F238E27FC236}">
                        <a16:creationId xmlns:a16="http://schemas.microsoft.com/office/drawing/2014/main" id="{20ED6F34-C805-4DD5-95EE-EA42996383C9}"/>
                      </a:ext>
                    </a:extLst>
                  </p:cNvPr>
                  <p:cNvSpPr/>
                  <p:nvPr/>
                </p:nvSpPr>
                <p:spPr>
                  <a:xfrm>
                    <a:off x="6384797" y="3307556"/>
                    <a:ext cx="105632" cy="113633"/>
                  </a:xfrm>
                  <a:custGeom>
                    <a:avLst/>
                    <a:gdLst>
                      <a:gd name="connsiteX0" fmla="*/ 84868 w 105632"/>
                      <a:gd name="connsiteY0" fmla="*/ 113633 h 113633"/>
                      <a:gd name="connsiteX1" fmla="*/ 86963 w 105632"/>
                      <a:gd name="connsiteY1" fmla="*/ 20288 h 113633"/>
                      <a:gd name="connsiteX2" fmla="*/ 62389 w 105632"/>
                      <a:gd name="connsiteY2" fmla="*/ 113633 h 113633"/>
                      <a:gd name="connsiteX3" fmla="*/ 43244 w 105632"/>
                      <a:gd name="connsiteY3" fmla="*/ 113633 h 113633"/>
                      <a:gd name="connsiteX4" fmla="*/ 18669 w 105632"/>
                      <a:gd name="connsiteY4" fmla="*/ 20288 h 113633"/>
                      <a:gd name="connsiteX5" fmla="*/ 20765 w 105632"/>
                      <a:gd name="connsiteY5" fmla="*/ 113633 h 113633"/>
                      <a:gd name="connsiteX6" fmla="*/ 0 w 105632"/>
                      <a:gd name="connsiteY6" fmla="*/ 113633 h 113633"/>
                      <a:gd name="connsiteX7" fmla="*/ 0 w 105632"/>
                      <a:gd name="connsiteY7" fmla="*/ 0 h 113633"/>
                      <a:gd name="connsiteX8" fmla="*/ 30861 w 105632"/>
                      <a:gd name="connsiteY8" fmla="*/ 0 h 113633"/>
                      <a:gd name="connsiteX9" fmla="*/ 53054 w 105632"/>
                      <a:gd name="connsiteY9" fmla="*/ 84296 h 113633"/>
                      <a:gd name="connsiteX10" fmla="*/ 74962 w 105632"/>
                      <a:gd name="connsiteY10" fmla="*/ 0 h 113633"/>
                      <a:gd name="connsiteX11" fmla="*/ 105632 w 105632"/>
                      <a:gd name="connsiteY11" fmla="*/ 0 h 113633"/>
                      <a:gd name="connsiteX12" fmla="*/ 105632 w 105632"/>
                      <a:gd name="connsiteY12" fmla="*/ 113538 h 113633"/>
                      <a:gd name="connsiteX13" fmla="*/ 84868 w 105632"/>
                      <a:gd name="connsiteY13" fmla="*/ 113538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05632" h="113633">
                        <a:moveTo>
                          <a:pt x="84868" y="113633"/>
                        </a:moveTo>
                        <a:cubicBezTo>
                          <a:pt x="84868" y="110871"/>
                          <a:pt x="86963" y="20288"/>
                          <a:pt x="86963" y="20288"/>
                        </a:cubicBezTo>
                        <a:lnTo>
                          <a:pt x="62389" y="113633"/>
                        </a:lnTo>
                        <a:lnTo>
                          <a:pt x="43244" y="113633"/>
                        </a:lnTo>
                        <a:lnTo>
                          <a:pt x="18669" y="20288"/>
                        </a:lnTo>
                        <a:cubicBezTo>
                          <a:pt x="18669" y="20288"/>
                          <a:pt x="20765" y="109919"/>
                          <a:pt x="20765" y="113633"/>
                        </a:cubicBez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30861" y="0"/>
                        </a:lnTo>
                        <a:lnTo>
                          <a:pt x="53054" y="84296"/>
                        </a:lnTo>
                        <a:lnTo>
                          <a:pt x="74962" y="0"/>
                        </a:lnTo>
                        <a:lnTo>
                          <a:pt x="105632" y="0"/>
                        </a:lnTo>
                        <a:lnTo>
                          <a:pt x="105632" y="113538"/>
                        </a:lnTo>
                        <a:lnTo>
                          <a:pt x="84868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1" name="Полилиния: фигура 110">
                    <a:extLst>
                      <a:ext uri="{FF2B5EF4-FFF2-40B4-BE49-F238E27FC236}">
                        <a16:creationId xmlns:a16="http://schemas.microsoft.com/office/drawing/2014/main" id="{D7F20604-C0AC-4361-AAE3-1CF6DB844159}"/>
                      </a:ext>
                    </a:extLst>
                  </p:cNvPr>
                  <p:cNvSpPr/>
                  <p:nvPr/>
                </p:nvSpPr>
                <p:spPr>
                  <a:xfrm>
                    <a:off x="6506718" y="3307556"/>
                    <a:ext cx="83439" cy="113538"/>
                  </a:xfrm>
                  <a:custGeom>
                    <a:avLst/>
                    <a:gdLst>
                      <a:gd name="connsiteX0" fmla="*/ 52102 w 83439"/>
                      <a:gd name="connsiteY0" fmla="*/ 19145 h 113538"/>
                      <a:gd name="connsiteX1" fmla="*/ 52102 w 83439"/>
                      <a:gd name="connsiteY1" fmla="*/ 113538 h 113538"/>
                      <a:gd name="connsiteX2" fmla="*/ 30861 w 83439"/>
                      <a:gd name="connsiteY2" fmla="*/ 113538 h 113538"/>
                      <a:gd name="connsiteX3" fmla="*/ 30861 w 83439"/>
                      <a:gd name="connsiteY3" fmla="*/ 19145 h 113538"/>
                      <a:gd name="connsiteX4" fmla="*/ 0 w 83439"/>
                      <a:gd name="connsiteY4" fmla="*/ 19145 h 113538"/>
                      <a:gd name="connsiteX5" fmla="*/ 0 w 83439"/>
                      <a:gd name="connsiteY5" fmla="*/ 0 h 113538"/>
                      <a:gd name="connsiteX6" fmla="*/ 83439 w 83439"/>
                      <a:gd name="connsiteY6" fmla="*/ 0 h 113538"/>
                      <a:gd name="connsiteX7" fmla="*/ 83439 w 83439"/>
                      <a:gd name="connsiteY7" fmla="*/ 19145 h 113538"/>
                      <a:gd name="connsiteX8" fmla="*/ 52102 w 83439"/>
                      <a:gd name="connsiteY8" fmla="*/ 19145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83439" h="113538">
                        <a:moveTo>
                          <a:pt x="52102" y="19145"/>
                        </a:moveTo>
                        <a:lnTo>
                          <a:pt x="52102" y="113538"/>
                        </a:lnTo>
                        <a:lnTo>
                          <a:pt x="30861" y="113538"/>
                        </a:lnTo>
                        <a:lnTo>
                          <a:pt x="30861" y="19145"/>
                        </a:lnTo>
                        <a:lnTo>
                          <a:pt x="0" y="19145"/>
                        </a:lnTo>
                        <a:lnTo>
                          <a:pt x="0" y="0"/>
                        </a:lnTo>
                        <a:lnTo>
                          <a:pt x="83439" y="0"/>
                        </a:lnTo>
                        <a:lnTo>
                          <a:pt x="83439" y="19145"/>
                        </a:lnTo>
                        <a:lnTo>
                          <a:pt x="52102" y="191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2" name="Полилиния: фигура 111">
                    <a:extLst>
                      <a:ext uri="{FF2B5EF4-FFF2-40B4-BE49-F238E27FC236}">
                        <a16:creationId xmlns:a16="http://schemas.microsoft.com/office/drawing/2014/main" id="{10B13D2E-98DC-45B7-8803-A83726DB67BF}"/>
                      </a:ext>
                    </a:extLst>
                  </p:cNvPr>
                  <p:cNvSpPr/>
                  <p:nvPr/>
                </p:nvSpPr>
                <p:spPr>
                  <a:xfrm>
                    <a:off x="6601301" y="3304698"/>
                    <a:ext cx="108870" cy="119348"/>
                  </a:xfrm>
                  <a:custGeom>
                    <a:avLst/>
                    <a:gdLst>
                      <a:gd name="connsiteX0" fmla="*/ 54483 w 108870"/>
                      <a:gd name="connsiteY0" fmla="*/ 0 h 119348"/>
                      <a:gd name="connsiteX1" fmla="*/ 108871 w 108870"/>
                      <a:gd name="connsiteY1" fmla="*/ 59055 h 119348"/>
                      <a:gd name="connsiteX2" fmla="*/ 54007 w 108870"/>
                      <a:gd name="connsiteY2" fmla="*/ 119348 h 119348"/>
                      <a:gd name="connsiteX3" fmla="*/ 0 w 108870"/>
                      <a:gd name="connsiteY3" fmla="*/ 59817 h 119348"/>
                      <a:gd name="connsiteX4" fmla="*/ 54483 w 108870"/>
                      <a:gd name="connsiteY4" fmla="*/ 0 h 119348"/>
                      <a:gd name="connsiteX5" fmla="*/ 54673 w 108870"/>
                      <a:gd name="connsiteY5" fmla="*/ 99536 h 119348"/>
                      <a:gd name="connsiteX6" fmla="*/ 87439 w 108870"/>
                      <a:gd name="connsiteY6" fmla="*/ 60770 h 119348"/>
                      <a:gd name="connsiteX7" fmla="*/ 54292 w 108870"/>
                      <a:gd name="connsiteY7" fmla="*/ 19431 h 119348"/>
                      <a:gd name="connsiteX8" fmla="*/ 21812 w 108870"/>
                      <a:gd name="connsiteY8" fmla="*/ 58960 h 119348"/>
                      <a:gd name="connsiteX9" fmla="*/ 54578 w 108870"/>
                      <a:gd name="connsiteY9" fmla="*/ 99536 h 11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870" h="119348">
                        <a:moveTo>
                          <a:pt x="54483" y="0"/>
                        </a:moveTo>
                        <a:cubicBezTo>
                          <a:pt x="89059" y="0"/>
                          <a:pt x="108871" y="28289"/>
                          <a:pt x="108871" y="59055"/>
                        </a:cubicBezTo>
                        <a:cubicBezTo>
                          <a:pt x="108871" y="84773"/>
                          <a:pt x="94869" y="119348"/>
                          <a:pt x="54007" y="119348"/>
                        </a:cubicBezTo>
                        <a:cubicBezTo>
                          <a:pt x="20574" y="119348"/>
                          <a:pt x="0" y="91726"/>
                          <a:pt x="0" y="59817"/>
                        </a:cubicBezTo>
                        <a:cubicBezTo>
                          <a:pt x="0" y="27908"/>
                          <a:pt x="21717" y="0"/>
                          <a:pt x="54483" y="0"/>
                        </a:cubicBezTo>
                        <a:close/>
                        <a:moveTo>
                          <a:pt x="54673" y="99536"/>
                        </a:moveTo>
                        <a:cubicBezTo>
                          <a:pt x="71533" y="99536"/>
                          <a:pt x="87439" y="86487"/>
                          <a:pt x="87439" y="60770"/>
                        </a:cubicBezTo>
                        <a:cubicBezTo>
                          <a:pt x="87439" y="40481"/>
                          <a:pt x="76867" y="19431"/>
                          <a:pt x="54292" y="19431"/>
                        </a:cubicBezTo>
                        <a:cubicBezTo>
                          <a:pt x="35623" y="19431"/>
                          <a:pt x="21812" y="34100"/>
                          <a:pt x="21812" y="58960"/>
                        </a:cubicBezTo>
                        <a:cubicBezTo>
                          <a:pt x="21812" y="76676"/>
                          <a:pt x="30289" y="99536"/>
                          <a:pt x="54578" y="9953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3" name="Полилиния: фигура 112">
                    <a:extLst>
                      <a:ext uri="{FF2B5EF4-FFF2-40B4-BE49-F238E27FC236}">
                        <a16:creationId xmlns:a16="http://schemas.microsoft.com/office/drawing/2014/main" id="{C63251CD-B52F-436B-89A6-DEF7F4B112AF}"/>
                      </a:ext>
                    </a:extLst>
                  </p:cNvPr>
                  <p:cNvSpPr/>
                  <p:nvPr/>
                </p:nvSpPr>
                <p:spPr>
                  <a:xfrm>
                    <a:off x="6730745" y="3307556"/>
                    <a:ext cx="84486" cy="113538"/>
                  </a:xfrm>
                  <a:custGeom>
                    <a:avLst/>
                    <a:gdLst>
                      <a:gd name="connsiteX0" fmla="*/ 44101 w 84486"/>
                      <a:gd name="connsiteY0" fmla="*/ 0 h 113538"/>
                      <a:gd name="connsiteX1" fmla="*/ 84487 w 84486"/>
                      <a:gd name="connsiteY1" fmla="*/ 37814 h 113538"/>
                      <a:gd name="connsiteX2" fmla="*/ 42958 w 84486"/>
                      <a:gd name="connsiteY2" fmla="*/ 74962 h 113538"/>
                      <a:gd name="connsiteX3" fmla="*/ 21241 w 84486"/>
                      <a:gd name="connsiteY3" fmla="*/ 74962 h 113538"/>
                      <a:gd name="connsiteX4" fmla="*/ 21241 w 84486"/>
                      <a:gd name="connsiteY4" fmla="*/ 113538 h 113538"/>
                      <a:gd name="connsiteX5" fmla="*/ 0 w 84486"/>
                      <a:gd name="connsiteY5" fmla="*/ 113538 h 113538"/>
                      <a:gd name="connsiteX6" fmla="*/ 0 w 84486"/>
                      <a:gd name="connsiteY6" fmla="*/ 0 h 113538"/>
                      <a:gd name="connsiteX7" fmla="*/ 44101 w 84486"/>
                      <a:gd name="connsiteY7" fmla="*/ 0 h 113538"/>
                      <a:gd name="connsiteX8" fmla="*/ 21241 w 84486"/>
                      <a:gd name="connsiteY8" fmla="*/ 57626 h 113538"/>
                      <a:gd name="connsiteX9" fmla="*/ 39910 w 84486"/>
                      <a:gd name="connsiteY9" fmla="*/ 57626 h 113538"/>
                      <a:gd name="connsiteX10" fmla="*/ 62579 w 84486"/>
                      <a:gd name="connsiteY10" fmla="*/ 37243 h 113538"/>
                      <a:gd name="connsiteX11" fmla="*/ 37529 w 84486"/>
                      <a:gd name="connsiteY11" fmla="*/ 18288 h 113538"/>
                      <a:gd name="connsiteX12" fmla="*/ 21241 w 84486"/>
                      <a:gd name="connsiteY12" fmla="*/ 18288 h 113538"/>
                      <a:gd name="connsiteX13" fmla="*/ 21241 w 84486"/>
                      <a:gd name="connsiteY13" fmla="*/ 57722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4486" h="113538">
                        <a:moveTo>
                          <a:pt x="44101" y="0"/>
                        </a:moveTo>
                        <a:cubicBezTo>
                          <a:pt x="67532" y="0"/>
                          <a:pt x="84487" y="14478"/>
                          <a:pt x="84487" y="37814"/>
                        </a:cubicBezTo>
                        <a:cubicBezTo>
                          <a:pt x="84487" y="58388"/>
                          <a:pt x="72580" y="74962"/>
                          <a:pt x="42958" y="74962"/>
                        </a:cubicBezTo>
                        <a:lnTo>
                          <a:pt x="21241" y="74962"/>
                        </a:lnTo>
                        <a:lnTo>
                          <a:pt x="21241" y="113538"/>
                        </a:lnTo>
                        <a:lnTo>
                          <a:pt x="0" y="113538"/>
                        </a:lnTo>
                        <a:lnTo>
                          <a:pt x="0" y="0"/>
                        </a:lnTo>
                        <a:lnTo>
                          <a:pt x="44101" y="0"/>
                        </a:lnTo>
                        <a:close/>
                        <a:moveTo>
                          <a:pt x="21241" y="57626"/>
                        </a:moveTo>
                        <a:lnTo>
                          <a:pt x="39910" y="57626"/>
                        </a:lnTo>
                        <a:cubicBezTo>
                          <a:pt x="55054" y="57626"/>
                          <a:pt x="62579" y="50578"/>
                          <a:pt x="62579" y="37243"/>
                        </a:cubicBezTo>
                        <a:cubicBezTo>
                          <a:pt x="62579" y="18955"/>
                          <a:pt x="47816" y="18288"/>
                          <a:pt x="37529" y="18288"/>
                        </a:cubicBezTo>
                        <a:lnTo>
                          <a:pt x="21241" y="18288"/>
                        </a:lnTo>
                        <a:lnTo>
                          <a:pt x="21241" y="5772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4" name="Полилиния: фигура 113">
                    <a:extLst>
                      <a:ext uri="{FF2B5EF4-FFF2-40B4-BE49-F238E27FC236}">
                        <a16:creationId xmlns:a16="http://schemas.microsoft.com/office/drawing/2014/main" id="{32E1FE2D-9257-41F2-93B7-0C018D9B657B}"/>
                      </a:ext>
                    </a:extLst>
                  </p:cNvPr>
                  <p:cNvSpPr/>
                  <p:nvPr/>
                </p:nvSpPr>
                <p:spPr>
                  <a:xfrm>
                    <a:off x="6830949" y="3307556"/>
                    <a:ext cx="67913" cy="113633"/>
                  </a:xfrm>
                  <a:custGeom>
                    <a:avLst/>
                    <a:gdLst>
                      <a:gd name="connsiteX0" fmla="*/ 67913 w 67913"/>
                      <a:gd name="connsiteY0" fmla="*/ 0 h 113633"/>
                      <a:gd name="connsiteX1" fmla="*/ 67913 w 67913"/>
                      <a:gd name="connsiteY1" fmla="*/ 19336 h 113633"/>
                      <a:gd name="connsiteX2" fmla="*/ 21241 w 67913"/>
                      <a:gd name="connsiteY2" fmla="*/ 19336 h 113633"/>
                      <a:gd name="connsiteX3" fmla="*/ 21241 w 67913"/>
                      <a:gd name="connsiteY3" fmla="*/ 113633 h 113633"/>
                      <a:gd name="connsiteX4" fmla="*/ 0 w 67913"/>
                      <a:gd name="connsiteY4" fmla="*/ 113633 h 113633"/>
                      <a:gd name="connsiteX5" fmla="*/ 0 w 67913"/>
                      <a:gd name="connsiteY5" fmla="*/ 0 h 113633"/>
                      <a:gd name="connsiteX6" fmla="*/ 67913 w 67913"/>
                      <a:gd name="connsiteY6" fmla="*/ 0 h 113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7913" h="113633">
                        <a:moveTo>
                          <a:pt x="67913" y="0"/>
                        </a:moveTo>
                        <a:lnTo>
                          <a:pt x="67913" y="19336"/>
                        </a:lnTo>
                        <a:lnTo>
                          <a:pt x="21241" y="19336"/>
                        </a:lnTo>
                        <a:lnTo>
                          <a:pt x="21241" y="113633"/>
                        </a:lnTo>
                        <a:lnTo>
                          <a:pt x="0" y="113633"/>
                        </a:lnTo>
                        <a:lnTo>
                          <a:pt x="0" y="0"/>
                        </a:lnTo>
                        <a:lnTo>
                          <a:pt x="67913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</p:grpSp>
            <p:grpSp>
              <p:nvGrpSpPr>
                <p:cNvPr id="115" name="Рисунок 96">
                  <a:extLst>
                    <a:ext uri="{FF2B5EF4-FFF2-40B4-BE49-F238E27FC236}">
                      <a16:creationId xmlns:a16="http://schemas.microsoft.com/office/drawing/2014/main" id="{A535EFD9-3315-4185-8795-EDC5EE0A517F}"/>
                    </a:ext>
                  </a:extLst>
                </p:cNvPr>
                <p:cNvGrpSpPr/>
                <p:nvPr/>
              </p:nvGrpSpPr>
              <p:grpSpPr>
                <a:xfrm>
                  <a:off x="5677471" y="3446335"/>
                  <a:ext cx="667702" cy="119348"/>
                  <a:chOff x="5677471" y="3446335"/>
                  <a:chExt cx="667702" cy="119348"/>
                </a:xfrm>
                <a:solidFill>
                  <a:srgbClr val="FFFFFF"/>
                </a:solidFill>
              </p:grpSpPr>
              <p:sp>
                <p:nvSpPr>
                  <p:cNvPr id="116" name="Полилиния: фигура 115">
                    <a:extLst>
                      <a:ext uri="{FF2B5EF4-FFF2-40B4-BE49-F238E27FC236}">
                        <a16:creationId xmlns:a16="http://schemas.microsoft.com/office/drawing/2014/main" id="{351D96C9-847C-4625-8686-CD54CCE1C302}"/>
                      </a:ext>
                    </a:extLst>
                  </p:cNvPr>
                  <p:cNvSpPr/>
                  <p:nvPr/>
                </p:nvSpPr>
                <p:spPr>
                  <a:xfrm>
                    <a:off x="5677471" y="3449193"/>
                    <a:ext cx="84486" cy="113538"/>
                  </a:xfrm>
                  <a:custGeom>
                    <a:avLst/>
                    <a:gdLst>
                      <a:gd name="connsiteX0" fmla="*/ 44101 w 84486"/>
                      <a:gd name="connsiteY0" fmla="*/ 0 h 113538"/>
                      <a:gd name="connsiteX1" fmla="*/ 84487 w 84486"/>
                      <a:gd name="connsiteY1" fmla="*/ 37814 h 113538"/>
                      <a:gd name="connsiteX2" fmla="*/ 42958 w 84486"/>
                      <a:gd name="connsiteY2" fmla="*/ 74962 h 113538"/>
                      <a:gd name="connsiteX3" fmla="*/ 21241 w 84486"/>
                      <a:gd name="connsiteY3" fmla="*/ 74962 h 113538"/>
                      <a:gd name="connsiteX4" fmla="*/ 21241 w 84486"/>
                      <a:gd name="connsiteY4" fmla="*/ 113538 h 113538"/>
                      <a:gd name="connsiteX5" fmla="*/ 0 w 84486"/>
                      <a:gd name="connsiteY5" fmla="*/ 113538 h 113538"/>
                      <a:gd name="connsiteX6" fmla="*/ 0 w 84486"/>
                      <a:gd name="connsiteY6" fmla="*/ 0 h 113538"/>
                      <a:gd name="connsiteX7" fmla="*/ 44101 w 84486"/>
                      <a:gd name="connsiteY7" fmla="*/ 0 h 113538"/>
                      <a:gd name="connsiteX8" fmla="*/ 21241 w 84486"/>
                      <a:gd name="connsiteY8" fmla="*/ 57626 h 113538"/>
                      <a:gd name="connsiteX9" fmla="*/ 39910 w 84486"/>
                      <a:gd name="connsiteY9" fmla="*/ 57626 h 113538"/>
                      <a:gd name="connsiteX10" fmla="*/ 62579 w 84486"/>
                      <a:gd name="connsiteY10" fmla="*/ 37243 h 113538"/>
                      <a:gd name="connsiteX11" fmla="*/ 37528 w 84486"/>
                      <a:gd name="connsiteY11" fmla="*/ 18288 h 113538"/>
                      <a:gd name="connsiteX12" fmla="*/ 21241 w 84486"/>
                      <a:gd name="connsiteY12" fmla="*/ 18288 h 113538"/>
                      <a:gd name="connsiteX13" fmla="*/ 21241 w 84486"/>
                      <a:gd name="connsiteY13" fmla="*/ 57721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4486" h="113538">
                        <a:moveTo>
                          <a:pt x="44101" y="0"/>
                        </a:moveTo>
                        <a:cubicBezTo>
                          <a:pt x="67532" y="0"/>
                          <a:pt x="84487" y="14478"/>
                          <a:pt x="84487" y="37814"/>
                        </a:cubicBezTo>
                        <a:cubicBezTo>
                          <a:pt x="84487" y="58388"/>
                          <a:pt x="72580" y="74962"/>
                          <a:pt x="42958" y="74962"/>
                        </a:cubicBezTo>
                        <a:lnTo>
                          <a:pt x="21241" y="74962"/>
                        </a:lnTo>
                        <a:lnTo>
                          <a:pt x="21241" y="113538"/>
                        </a:lnTo>
                        <a:lnTo>
                          <a:pt x="0" y="113538"/>
                        </a:lnTo>
                        <a:lnTo>
                          <a:pt x="0" y="0"/>
                        </a:lnTo>
                        <a:lnTo>
                          <a:pt x="44101" y="0"/>
                        </a:lnTo>
                        <a:close/>
                        <a:moveTo>
                          <a:pt x="21241" y="57626"/>
                        </a:moveTo>
                        <a:lnTo>
                          <a:pt x="39910" y="57626"/>
                        </a:lnTo>
                        <a:cubicBezTo>
                          <a:pt x="55054" y="57626"/>
                          <a:pt x="62579" y="50578"/>
                          <a:pt x="62579" y="37243"/>
                        </a:cubicBezTo>
                        <a:cubicBezTo>
                          <a:pt x="62579" y="18955"/>
                          <a:pt x="47816" y="18288"/>
                          <a:pt x="37528" y="18288"/>
                        </a:cubicBezTo>
                        <a:lnTo>
                          <a:pt x="21241" y="18288"/>
                        </a:lnTo>
                        <a:lnTo>
                          <a:pt x="21241" y="5772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7" name="Полилиния: фигура 116">
                    <a:extLst>
                      <a:ext uri="{FF2B5EF4-FFF2-40B4-BE49-F238E27FC236}">
                        <a16:creationId xmlns:a16="http://schemas.microsoft.com/office/drawing/2014/main" id="{ACBAA73C-F468-4245-BD96-68AF807AC298}"/>
                      </a:ext>
                    </a:extLst>
                  </p:cNvPr>
                  <p:cNvSpPr/>
                  <p:nvPr/>
                </p:nvSpPr>
                <p:spPr>
                  <a:xfrm>
                    <a:off x="5774245" y="3446335"/>
                    <a:ext cx="108870" cy="119348"/>
                  </a:xfrm>
                  <a:custGeom>
                    <a:avLst/>
                    <a:gdLst>
                      <a:gd name="connsiteX0" fmla="*/ 54483 w 108870"/>
                      <a:gd name="connsiteY0" fmla="*/ 0 h 119348"/>
                      <a:gd name="connsiteX1" fmla="*/ 108871 w 108870"/>
                      <a:gd name="connsiteY1" fmla="*/ 59055 h 119348"/>
                      <a:gd name="connsiteX2" fmla="*/ 54007 w 108870"/>
                      <a:gd name="connsiteY2" fmla="*/ 119348 h 119348"/>
                      <a:gd name="connsiteX3" fmla="*/ 0 w 108870"/>
                      <a:gd name="connsiteY3" fmla="*/ 59817 h 119348"/>
                      <a:gd name="connsiteX4" fmla="*/ 54578 w 108870"/>
                      <a:gd name="connsiteY4" fmla="*/ 0 h 119348"/>
                      <a:gd name="connsiteX5" fmla="*/ 54578 w 108870"/>
                      <a:gd name="connsiteY5" fmla="*/ 99536 h 119348"/>
                      <a:gd name="connsiteX6" fmla="*/ 87440 w 108870"/>
                      <a:gd name="connsiteY6" fmla="*/ 60770 h 119348"/>
                      <a:gd name="connsiteX7" fmla="*/ 54292 w 108870"/>
                      <a:gd name="connsiteY7" fmla="*/ 19431 h 119348"/>
                      <a:gd name="connsiteX8" fmla="*/ 21812 w 108870"/>
                      <a:gd name="connsiteY8" fmla="*/ 59055 h 119348"/>
                      <a:gd name="connsiteX9" fmla="*/ 54578 w 108870"/>
                      <a:gd name="connsiteY9" fmla="*/ 99536 h 11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870" h="119348">
                        <a:moveTo>
                          <a:pt x="54483" y="0"/>
                        </a:moveTo>
                        <a:cubicBezTo>
                          <a:pt x="89059" y="0"/>
                          <a:pt x="108871" y="28289"/>
                          <a:pt x="108871" y="59055"/>
                        </a:cubicBezTo>
                        <a:cubicBezTo>
                          <a:pt x="108871" y="84773"/>
                          <a:pt x="94869" y="119348"/>
                          <a:pt x="54007" y="119348"/>
                        </a:cubicBezTo>
                        <a:cubicBezTo>
                          <a:pt x="20574" y="119348"/>
                          <a:pt x="0" y="91726"/>
                          <a:pt x="0" y="59817"/>
                        </a:cubicBezTo>
                        <a:cubicBezTo>
                          <a:pt x="0" y="27908"/>
                          <a:pt x="21717" y="0"/>
                          <a:pt x="54578" y="0"/>
                        </a:cubicBezTo>
                        <a:close/>
                        <a:moveTo>
                          <a:pt x="54578" y="99536"/>
                        </a:moveTo>
                        <a:cubicBezTo>
                          <a:pt x="71438" y="99536"/>
                          <a:pt x="87440" y="86487"/>
                          <a:pt x="87440" y="60770"/>
                        </a:cubicBezTo>
                        <a:cubicBezTo>
                          <a:pt x="87440" y="40481"/>
                          <a:pt x="76867" y="19431"/>
                          <a:pt x="54292" y="19431"/>
                        </a:cubicBezTo>
                        <a:cubicBezTo>
                          <a:pt x="35623" y="19431"/>
                          <a:pt x="21812" y="34100"/>
                          <a:pt x="21812" y="59055"/>
                        </a:cubicBezTo>
                        <a:cubicBezTo>
                          <a:pt x="21812" y="76771"/>
                          <a:pt x="30290" y="99536"/>
                          <a:pt x="54578" y="9953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8" name="Полилиния: фигура 117">
                    <a:extLst>
                      <a:ext uri="{FF2B5EF4-FFF2-40B4-BE49-F238E27FC236}">
                        <a16:creationId xmlns:a16="http://schemas.microsoft.com/office/drawing/2014/main" id="{ABD836EB-89D8-4C45-9AEB-31C89FB89049}"/>
                      </a:ext>
                    </a:extLst>
                  </p:cNvPr>
                  <p:cNvSpPr/>
                  <p:nvPr/>
                </p:nvSpPr>
                <p:spPr>
                  <a:xfrm>
                    <a:off x="5898070" y="3446335"/>
                    <a:ext cx="102203" cy="119348"/>
                  </a:xfrm>
                  <a:custGeom>
                    <a:avLst/>
                    <a:gdLst>
                      <a:gd name="connsiteX0" fmla="*/ 102108 w 102203"/>
                      <a:gd name="connsiteY0" fmla="*/ 84773 h 119348"/>
                      <a:gd name="connsiteX1" fmla="*/ 53054 w 102203"/>
                      <a:gd name="connsiteY1" fmla="*/ 119348 h 119348"/>
                      <a:gd name="connsiteX2" fmla="*/ 0 w 102203"/>
                      <a:gd name="connsiteY2" fmla="*/ 58579 h 119348"/>
                      <a:gd name="connsiteX3" fmla="*/ 53911 w 102203"/>
                      <a:gd name="connsiteY3" fmla="*/ 0 h 119348"/>
                      <a:gd name="connsiteX4" fmla="*/ 100108 w 102203"/>
                      <a:gd name="connsiteY4" fmla="*/ 35052 h 119348"/>
                      <a:gd name="connsiteX5" fmla="*/ 79057 w 102203"/>
                      <a:gd name="connsiteY5" fmla="*/ 40481 h 119348"/>
                      <a:gd name="connsiteX6" fmla="*/ 54769 w 102203"/>
                      <a:gd name="connsiteY6" fmla="*/ 19431 h 119348"/>
                      <a:gd name="connsiteX7" fmla="*/ 23050 w 102203"/>
                      <a:gd name="connsiteY7" fmla="*/ 58865 h 119348"/>
                      <a:gd name="connsiteX8" fmla="*/ 54578 w 102203"/>
                      <a:gd name="connsiteY8" fmla="*/ 99251 h 119348"/>
                      <a:gd name="connsiteX9" fmla="*/ 82105 w 102203"/>
                      <a:gd name="connsiteY9" fmla="*/ 76391 h 119348"/>
                      <a:gd name="connsiteX10" fmla="*/ 102203 w 102203"/>
                      <a:gd name="connsiteY10" fmla="*/ 84773 h 11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2203" h="119348">
                        <a:moveTo>
                          <a:pt x="102108" y="84773"/>
                        </a:moveTo>
                        <a:cubicBezTo>
                          <a:pt x="98393" y="94393"/>
                          <a:pt x="85725" y="119348"/>
                          <a:pt x="53054" y="119348"/>
                        </a:cubicBezTo>
                        <a:cubicBezTo>
                          <a:pt x="26194" y="119348"/>
                          <a:pt x="0" y="100965"/>
                          <a:pt x="0" y="58579"/>
                        </a:cubicBezTo>
                        <a:cubicBezTo>
                          <a:pt x="0" y="33338"/>
                          <a:pt x="14288" y="0"/>
                          <a:pt x="53911" y="0"/>
                        </a:cubicBezTo>
                        <a:cubicBezTo>
                          <a:pt x="83153" y="0"/>
                          <a:pt x="95250" y="18859"/>
                          <a:pt x="100108" y="35052"/>
                        </a:cubicBezTo>
                        <a:lnTo>
                          <a:pt x="79057" y="40481"/>
                        </a:lnTo>
                        <a:cubicBezTo>
                          <a:pt x="77724" y="28099"/>
                          <a:pt x="67342" y="19431"/>
                          <a:pt x="54769" y="19431"/>
                        </a:cubicBezTo>
                        <a:cubicBezTo>
                          <a:pt x="36290" y="19431"/>
                          <a:pt x="23050" y="33623"/>
                          <a:pt x="23050" y="58865"/>
                        </a:cubicBezTo>
                        <a:cubicBezTo>
                          <a:pt x="23050" y="74295"/>
                          <a:pt x="29337" y="99251"/>
                          <a:pt x="54578" y="99251"/>
                        </a:cubicBezTo>
                        <a:cubicBezTo>
                          <a:pt x="69247" y="99251"/>
                          <a:pt x="78677" y="88011"/>
                          <a:pt x="82105" y="76391"/>
                        </a:cubicBezTo>
                        <a:lnTo>
                          <a:pt x="102203" y="847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19" name="Полилиния: фигура 118">
                    <a:extLst>
                      <a:ext uri="{FF2B5EF4-FFF2-40B4-BE49-F238E27FC236}">
                        <a16:creationId xmlns:a16="http://schemas.microsoft.com/office/drawing/2014/main" id="{7944747E-55C3-422C-B29A-D4DC5CBD49C6}"/>
                      </a:ext>
                    </a:extLst>
                  </p:cNvPr>
                  <p:cNvSpPr/>
                  <p:nvPr/>
                </p:nvSpPr>
                <p:spPr>
                  <a:xfrm>
                    <a:off x="6013704" y="3446335"/>
                    <a:ext cx="102203" cy="119348"/>
                  </a:xfrm>
                  <a:custGeom>
                    <a:avLst/>
                    <a:gdLst>
                      <a:gd name="connsiteX0" fmla="*/ 102108 w 102203"/>
                      <a:gd name="connsiteY0" fmla="*/ 84773 h 119348"/>
                      <a:gd name="connsiteX1" fmla="*/ 53054 w 102203"/>
                      <a:gd name="connsiteY1" fmla="*/ 119348 h 119348"/>
                      <a:gd name="connsiteX2" fmla="*/ 0 w 102203"/>
                      <a:gd name="connsiteY2" fmla="*/ 58579 h 119348"/>
                      <a:gd name="connsiteX3" fmla="*/ 53911 w 102203"/>
                      <a:gd name="connsiteY3" fmla="*/ 0 h 119348"/>
                      <a:gd name="connsiteX4" fmla="*/ 100108 w 102203"/>
                      <a:gd name="connsiteY4" fmla="*/ 35052 h 119348"/>
                      <a:gd name="connsiteX5" fmla="*/ 79058 w 102203"/>
                      <a:gd name="connsiteY5" fmla="*/ 40481 h 119348"/>
                      <a:gd name="connsiteX6" fmla="*/ 54769 w 102203"/>
                      <a:gd name="connsiteY6" fmla="*/ 19431 h 119348"/>
                      <a:gd name="connsiteX7" fmla="*/ 23050 w 102203"/>
                      <a:gd name="connsiteY7" fmla="*/ 58865 h 119348"/>
                      <a:gd name="connsiteX8" fmla="*/ 54578 w 102203"/>
                      <a:gd name="connsiteY8" fmla="*/ 99251 h 119348"/>
                      <a:gd name="connsiteX9" fmla="*/ 82106 w 102203"/>
                      <a:gd name="connsiteY9" fmla="*/ 76391 h 119348"/>
                      <a:gd name="connsiteX10" fmla="*/ 102203 w 102203"/>
                      <a:gd name="connsiteY10" fmla="*/ 84773 h 11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2203" h="119348">
                        <a:moveTo>
                          <a:pt x="102108" y="84773"/>
                        </a:moveTo>
                        <a:cubicBezTo>
                          <a:pt x="98393" y="94393"/>
                          <a:pt x="85725" y="119348"/>
                          <a:pt x="53054" y="119348"/>
                        </a:cubicBezTo>
                        <a:cubicBezTo>
                          <a:pt x="26194" y="119348"/>
                          <a:pt x="0" y="100965"/>
                          <a:pt x="0" y="58579"/>
                        </a:cubicBezTo>
                        <a:cubicBezTo>
                          <a:pt x="0" y="33338"/>
                          <a:pt x="14288" y="0"/>
                          <a:pt x="53911" y="0"/>
                        </a:cubicBezTo>
                        <a:cubicBezTo>
                          <a:pt x="83153" y="0"/>
                          <a:pt x="95250" y="18859"/>
                          <a:pt x="100108" y="35052"/>
                        </a:cubicBezTo>
                        <a:lnTo>
                          <a:pt x="79058" y="40481"/>
                        </a:lnTo>
                        <a:cubicBezTo>
                          <a:pt x="77819" y="28099"/>
                          <a:pt x="67342" y="19431"/>
                          <a:pt x="54769" y="19431"/>
                        </a:cubicBezTo>
                        <a:cubicBezTo>
                          <a:pt x="36290" y="19431"/>
                          <a:pt x="23050" y="33623"/>
                          <a:pt x="23050" y="58865"/>
                        </a:cubicBezTo>
                        <a:cubicBezTo>
                          <a:pt x="23050" y="74295"/>
                          <a:pt x="29337" y="99251"/>
                          <a:pt x="54578" y="99251"/>
                        </a:cubicBezTo>
                        <a:cubicBezTo>
                          <a:pt x="69247" y="99251"/>
                          <a:pt x="78677" y="88011"/>
                          <a:pt x="82106" y="76391"/>
                        </a:cubicBezTo>
                        <a:lnTo>
                          <a:pt x="102203" y="847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20" name="Полилиния: фигура 119">
                    <a:extLst>
                      <a:ext uri="{FF2B5EF4-FFF2-40B4-BE49-F238E27FC236}">
                        <a16:creationId xmlns:a16="http://schemas.microsoft.com/office/drawing/2014/main" id="{0EB4CC33-D092-40CB-9E64-83E6D494F66E}"/>
                      </a:ext>
                    </a:extLst>
                  </p:cNvPr>
                  <p:cNvSpPr/>
                  <p:nvPr/>
                </p:nvSpPr>
                <p:spPr>
                  <a:xfrm>
                    <a:off x="6132861" y="3449193"/>
                    <a:ext cx="93344" cy="113538"/>
                  </a:xfrm>
                  <a:custGeom>
                    <a:avLst/>
                    <a:gdLst>
                      <a:gd name="connsiteX0" fmla="*/ 93345 w 93344"/>
                      <a:gd name="connsiteY0" fmla="*/ 113538 h 113538"/>
                      <a:gd name="connsiteX1" fmla="*/ 72104 w 93344"/>
                      <a:gd name="connsiteY1" fmla="*/ 113538 h 113538"/>
                      <a:gd name="connsiteX2" fmla="*/ 72104 w 93344"/>
                      <a:gd name="connsiteY2" fmla="*/ 39243 h 113538"/>
                      <a:gd name="connsiteX3" fmla="*/ 21241 w 93344"/>
                      <a:gd name="connsiteY3" fmla="*/ 100013 h 113538"/>
                      <a:gd name="connsiteX4" fmla="*/ 21241 w 93344"/>
                      <a:gd name="connsiteY4" fmla="*/ 113538 h 113538"/>
                      <a:gd name="connsiteX5" fmla="*/ 0 w 93344"/>
                      <a:gd name="connsiteY5" fmla="*/ 113538 h 113538"/>
                      <a:gd name="connsiteX6" fmla="*/ 0 w 93344"/>
                      <a:gd name="connsiteY6" fmla="*/ 0 h 113538"/>
                      <a:gd name="connsiteX7" fmla="*/ 21241 w 93344"/>
                      <a:gd name="connsiteY7" fmla="*/ 0 h 113538"/>
                      <a:gd name="connsiteX8" fmla="*/ 21241 w 93344"/>
                      <a:gd name="connsiteY8" fmla="*/ 73628 h 113538"/>
                      <a:gd name="connsiteX9" fmla="*/ 72104 w 93344"/>
                      <a:gd name="connsiteY9" fmla="*/ 12859 h 113538"/>
                      <a:gd name="connsiteX10" fmla="*/ 72104 w 93344"/>
                      <a:gd name="connsiteY10" fmla="*/ 0 h 113538"/>
                      <a:gd name="connsiteX11" fmla="*/ 93345 w 93344"/>
                      <a:gd name="connsiteY11" fmla="*/ 0 h 113538"/>
                      <a:gd name="connsiteX12" fmla="*/ 93345 w 93344"/>
                      <a:gd name="connsiteY12" fmla="*/ 113538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93344" h="113538">
                        <a:moveTo>
                          <a:pt x="93345" y="113538"/>
                        </a:moveTo>
                        <a:lnTo>
                          <a:pt x="72104" y="113538"/>
                        </a:lnTo>
                        <a:lnTo>
                          <a:pt x="72104" y="39243"/>
                        </a:lnTo>
                        <a:lnTo>
                          <a:pt x="21241" y="100013"/>
                        </a:lnTo>
                        <a:lnTo>
                          <a:pt x="21241" y="113538"/>
                        </a:lnTo>
                        <a:lnTo>
                          <a:pt x="0" y="113538"/>
                        </a:lnTo>
                        <a:lnTo>
                          <a:pt x="0" y="0"/>
                        </a:lnTo>
                        <a:lnTo>
                          <a:pt x="21241" y="0"/>
                        </a:lnTo>
                        <a:lnTo>
                          <a:pt x="21241" y="73628"/>
                        </a:lnTo>
                        <a:lnTo>
                          <a:pt x="72104" y="12859"/>
                        </a:lnTo>
                        <a:lnTo>
                          <a:pt x="72104" y="0"/>
                        </a:lnTo>
                        <a:lnTo>
                          <a:pt x="93345" y="0"/>
                        </a:lnTo>
                        <a:lnTo>
                          <a:pt x="93345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  <p:sp>
                <p:nvSpPr>
                  <p:cNvPr id="121" name="Полилиния: фигура 120">
                    <a:extLst>
                      <a:ext uri="{FF2B5EF4-FFF2-40B4-BE49-F238E27FC236}">
                        <a16:creationId xmlns:a16="http://schemas.microsoft.com/office/drawing/2014/main" id="{4C63071C-7345-429B-BC88-CCFAE06A9346}"/>
                      </a:ext>
                    </a:extLst>
                  </p:cNvPr>
                  <p:cNvSpPr/>
                  <p:nvPr/>
                </p:nvSpPr>
                <p:spPr>
                  <a:xfrm>
                    <a:off x="6251829" y="3449193"/>
                    <a:ext cx="93345" cy="113538"/>
                  </a:xfrm>
                  <a:custGeom>
                    <a:avLst/>
                    <a:gdLst>
                      <a:gd name="connsiteX0" fmla="*/ 93345 w 93345"/>
                      <a:gd name="connsiteY0" fmla="*/ 113538 h 113538"/>
                      <a:gd name="connsiteX1" fmla="*/ 72104 w 93345"/>
                      <a:gd name="connsiteY1" fmla="*/ 113538 h 113538"/>
                      <a:gd name="connsiteX2" fmla="*/ 72104 w 93345"/>
                      <a:gd name="connsiteY2" fmla="*/ 39243 h 113538"/>
                      <a:gd name="connsiteX3" fmla="*/ 21241 w 93345"/>
                      <a:gd name="connsiteY3" fmla="*/ 100013 h 113538"/>
                      <a:gd name="connsiteX4" fmla="*/ 21241 w 93345"/>
                      <a:gd name="connsiteY4" fmla="*/ 113538 h 113538"/>
                      <a:gd name="connsiteX5" fmla="*/ 0 w 93345"/>
                      <a:gd name="connsiteY5" fmla="*/ 113538 h 113538"/>
                      <a:gd name="connsiteX6" fmla="*/ 0 w 93345"/>
                      <a:gd name="connsiteY6" fmla="*/ 0 h 113538"/>
                      <a:gd name="connsiteX7" fmla="*/ 21241 w 93345"/>
                      <a:gd name="connsiteY7" fmla="*/ 0 h 113538"/>
                      <a:gd name="connsiteX8" fmla="*/ 21241 w 93345"/>
                      <a:gd name="connsiteY8" fmla="*/ 73628 h 113538"/>
                      <a:gd name="connsiteX9" fmla="*/ 72104 w 93345"/>
                      <a:gd name="connsiteY9" fmla="*/ 12859 h 113538"/>
                      <a:gd name="connsiteX10" fmla="*/ 72104 w 93345"/>
                      <a:gd name="connsiteY10" fmla="*/ 0 h 113538"/>
                      <a:gd name="connsiteX11" fmla="*/ 93345 w 93345"/>
                      <a:gd name="connsiteY11" fmla="*/ 0 h 113538"/>
                      <a:gd name="connsiteX12" fmla="*/ 93345 w 93345"/>
                      <a:gd name="connsiteY12" fmla="*/ 113538 h 113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93345" h="113538">
                        <a:moveTo>
                          <a:pt x="93345" y="113538"/>
                        </a:moveTo>
                        <a:lnTo>
                          <a:pt x="72104" y="113538"/>
                        </a:lnTo>
                        <a:lnTo>
                          <a:pt x="72104" y="39243"/>
                        </a:lnTo>
                        <a:lnTo>
                          <a:pt x="21241" y="100013"/>
                        </a:lnTo>
                        <a:lnTo>
                          <a:pt x="21241" y="113538"/>
                        </a:lnTo>
                        <a:lnTo>
                          <a:pt x="0" y="113538"/>
                        </a:lnTo>
                        <a:lnTo>
                          <a:pt x="0" y="0"/>
                        </a:lnTo>
                        <a:lnTo>
                          <a:pt x="21241" y="0"/>
                        </a:lnTo>
                        <a:lnTo>
                          <a:pt x="21241" y="73628"/>
                        </a:lnTo>
                        <a:lnTo>
                          <a:pt x="72104" y="12859"/>
                        </a:lnTo>
                        <a:lnTo>
                          <a:pt x="72104" y="0"/>
                        </a:lnTo>
                        <a:lnTo>
                          <a:pt x="93345" y="0"/>
                        </a:lnTo>
                        <a:lnTo>
                          <a:pt x="93345" y="11353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algn="ctr" defTabSz="2889073" hangingPunct="0">
                      <a:defRPr/>
                    </a:pPr>
                    <a:endParaRPr lang="ru-RU" sz="2845" kern="0">
                      <a:solidFill>
                        <a:srgbClr val="5E5E5E"/>
                      </a:solidFill>
                      <a:latin typeface="Montserrat"/>
                      <a:sym typeface="Helvetica Neue"/>
                    </a:endParaRPr>
                  </a:p>
                </p:txBody>
              </p:sp>
            </p:grpSp>
          </p:grpSp>
        </p:grpSp>
      </p:grpSp>
      <p:sp>
        <p:nvSpPr>
          <p:cNvPr id="126" name="Прямоугольник: скругленные углы 125">
            <a:extLst>
              <a:ext uri="{FF2B5EF4-FFF2-40B4-BE49-F238E27FC236}">
                <a16:creationId xmlns:a16="http://schemas.microsoft.com/office/drawing/2014/main" id="{8B2C643C-5647-423C-9A26-E6881C78855B}"/>
              </a:ext>
            </a:extLst>
          </p:cNvPr>
          <p:cNvSpPr/>
          <p:nvPr/>
        </p:nvSpPr>
        <p:spPr>
          <a:xfrm>
            <a:off x="2680525" y="3990582"/>
            <a:ext cx="5116843" cy="2472937"/>
          </a:xfrm>
          <a:prstGeom prst="roundRect">
            <a:avLst>
              <a:gd name="adj" fmla="val 8365"/>
            </a:avLst>
          </a:prstGeom>
          <a:solidFill>
            <a:sysClr val="window" lastClr="FFFFFF">
              <a:lumMod val="95000"/>
              <a:alpha val="93000"/>
            </a:sys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377">
              <a:defRPr/>
            </a:pPr>
            <a:endParaRPr lang="ru-RU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728526A4-9167-44BC-A62A-41A0A4054BDD}"/>
              </a:ext>
            </a:extLst>
          </p:cNvPr>
          <p:cNvSpPr txBox="1"/>
          <p:nvPr/>
        </p:nvSpPr>
        <p:spPr>
          <a:xfrm>
            <a:off x="2801660" y="4180539"/>
            <a:ext cx="4806593" cy="22801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914377">
              <a:lnSpc>
                <a:spcPct val="130000"/>
              </a:lnSpc>
              <a:spcAft>
                <a:spcPts val="1200"/>
              </a:spcAft>
              <a:defRPr/>
            </a:pPr>
            <a:r>
              <a:rPr lang="ru-RU" sz="2000" b="1" dirty="0">
                <a:solidFill>
                  <a:prstClr val="black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Владимир Коклюгин</a:t>
            </a:r>
          </a:p>
          <a:p>
            <a:pPr algn="just" defTabSz="914377">
              <a:defRPr/>
            </a:pPr>
            <a:r>
              <a:rPr lang="ru-RU" sz="1400" i="1" dirty="0">
                <a:solidFill>
                  <a:prstClr val="black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Руководитель</a:t>
            </a:r>
          </a:p>
          <a:p>
            <a:pPr algn="just" defTabSz="914377">
              <a:defRPr/>
            </a:pPr>
            <a:r>
              <a:rPr lang="ru-RU" sz="1400" i="1" dirty="0">
                <a:solidFill>
                  <a:prstClr val="black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проекта ФЦК</a:t>
            </a:r>
            <a:endParaRPr lang="en-US" sz="1400" i="1" dirty="0">
              <a:solidFill>
                <a:prstClr val="black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377">
              <a:lnSpc>
                <a:spcPct val="150000"/>
              </a:lnSpc>
              <a:defRPr/>
            </a:pPr>
            <a:endParaRPr lang="en-US" sz="2000" dirty="0">
              <a:solidFill>
                <a:srgbClr val="0071BC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377">
              <a:lnSpc>
                <a:spcPct val="150000"/>
              </a:lnSpc>
              <a:defRPr/>
            </a:pPr>
            <a:r>
              <a:rPr lang="ru-RU" sz="2000" dirty="0">
                <a:solidFill>
                  <a:prstClr val="black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+7 964 968 72 42 </a:t>
            </a:r>
            <a:endParaRPr lang="en-US" sz="2000" dirty="0">
              <a:solidFill>
                <a:prstClr val="black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377">
              <a:lnSpc>
                <a:spcPct val="150000"/>
              </a:lnSpc>
              <a:defRPr/>
            </a:pPr>
            <a:r>
              <a:rPr lang="ru-RU" sz="1400" u="sng" dirty="0" err="1">
                <a:solidFill>
                  <a:srgbClr val="5B9BD5">
                    <a:lumMod val="75000"/>
                  </a:srgbClr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производительность.рф</a:t>
            </a:r>
            <a:endParaRPr lang="ru-RU" sz="2000" u="sng" dirty="0">
              <a:solidFill>
                <a:srgbClr val="5B9BD5">
                  <a:lumMod val="75000"/>
                </a:srgbClr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" name="Заголовок 1">
            <a:extLst>
              <a:ext uri="{FF2B5EF4-FFF2-40B4-BE49-F238E27FC236}">
                <a16:creationId xmlns:a16="http://schemas.microsoft.com/office/drawing/2014/main" id="{94985CCD-282B-4B8F-9E5F-A544634BC75E}"/>
              </a:ext>
            </a:extLst>
          </p:cNvPr>
          <p:cNvSpPr txBox="1">
            <a:spLocks/>
          </p:cNvSpPr>
          <p:nvPr/>
        </p:nvSpPr>
        <p:spPr>
          <a:xfrm>
            <a:off x="3238376" y="2206601"/>
            <a:ext cx="6224777" cy="53553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kern="1200">
                <a:solidFill>
                  <a:srgbClr val="00447D"/>
                </a:solidFill>
                <a:latin typeface="Montserrat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17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35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53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70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377">
              <a:defRPr/>
            </a:pPr>
            <a:r>
              <a:rPr lang="ru-RU" altLang="ru-RU" sz="4000" b="1" dirty="0">
                <a:solidFill>
                  <a:prstClr val="white"/>
                </a:solidFill>
                <a:cs typeface="Times New Roman" panose="02020603050405020304" pitchFamily="18" charset="0"/>
              </a:rPr>
              <a:t>Подавайте заявку!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3319E4E7-1B9A-4740-89F2-F8D2E23E1DF8}"/>
              </a:ext>
            </a:extLst>
          </p:cNvPr>
          <p:cNvGrpSpPr/>
          <p:nvPr/>
        </p:nvGrpSpPr>
        <p:grpSpPr>
          <a:xfrm>
            <a:off x="3559923" y="2871009"/>
            <a:ext cx="4965984" cy="457873"/>
            <a:chOff x="3559922" y="3206909"/>
            <a:chExt cx="4965984" cy="457873"/>
          </a:xfrm>
        </p:grpSpPr>
        <p:sp>
          <p:nvSpPr>
            <p:cNvPr id="3" name="Стрелка: вправо 2">
              <a:extLst>
                <a:ext uri="{FF2B5EF4-FFF2-40B4-BE49-F238E27FC236}">
                  <a16:creationId xmlns:a16="http://schemas.microsoft.com/office/drawing/2014/main" id="{67C695E5-8C26-463B-94FB-79949455D703}"/>
                </a:ext>
              </a:extLst>
            </p:cNvPr>
            <p:cNvSpPr/>
            <p:nvPr/>
          </p:nvSpPr>
          <p:spPr>
            <a:xfrm>
              <a:off x="3641803" y="3225269"/>
              <a:ext cx="4884103" cy="439513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>
                <a:solidFill>
                  <a:prstClr val="white"/>
                </a:solidFill>
                <a:latin typeface="Montserrat"/>
              </a:endParaRP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D404C244-A6A9-44E9-BC77-FDBEFC726D00}"/>
                </a:ext>
              </a:extLst>
            </p:cNvPr>
            <p:cNvSpPr/>
            <p:nvPr/>
          </p:nvSpPr>
          <p:spPr>
            <a:xfrm flipV="1">
              <a:off x="3559922" y="3206909"/>
              <a:ext cx="4965983" cy="24993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>
                <a:solidFill>
                  <a:prstClr val="white"/>
                </a:solidFill>
                <a:latin typeface="Montserrat"/>
              </a:endParaRPr>
            </a:p>
          </p:txBody>
        </p:sp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id="{1AED14BE-BC0B-4851-9FED-09FF0BC688EA}"/>
              </a:ext>
            </a:extLst>
          </p:cNvPr>
          <p:cNvSpPr txBox="1"/>
          <p:nvPr/>
        </p:nvSpPr>
        <p:spPr>
          <a:xfrm>
            <a:off x="3895979" y="2799034"/>
            <a:ext cx="44399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n-US" dirty="0">
                <a:solidFill>
                  <a:prstClr val="white"/>
                </a:solidFill>
                <a:latin typeface="Verdana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</a:t>
            </a:r>
            <a:r>
              <a:rPr lang="ru-RU" dirty="0" err="1">
                <a:solidFill>
                  <a:prstClr val="white"/>
                </a:solidFill>
                <a:latin typeface="Verdana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производительность.рф</a:t>
            </a:r>
            <a:r>
              <a:rPr lang="ru-RU" dirty="0">
                <a:solidFill>
                  <a:prstClr val="white"/>
                </a:solidFill>
                <a:latin typeface="Verdana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/</a:t>
            </a:r>
            <a:endParaRPr lang="ru-RU" dirty="0">
              <a:solidFill>
                <a:prstClr val="white"/>
              </a:solidFill>
              <a:latin typeface="Verdana"/>
            </a:endParaRPr>
          </a:p>
        </p:txBody>
      </p:sp>
      <p:pic>
        <p:nvPicPr>
          <p:cNvPr id="125" name="Рисунок 124">
            <a:extLst>
              <a:ext uri="{FF2B5EF4-FFF2-40B4-BE49-F238E27FC236}">
                <a16:creationId xmlns:a16="http://schemas.microsoft.com/office/drawing/2014/main" id="{525FFDD3-03CF-45C3-9FA0-DC655950CC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8534" y="4328383"/>
            <a:ext cx="1565559" cy="1895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386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AIC2hj20mIgde7ZjF6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5Cr3GjzkSQM04rKSRH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ZyAjyqE2My_YCCEKO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lME6r6DUeMDfatGGVP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1MW76AT06kcbygN54t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owhL14X0qPJ.wp6St7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lME6r6DUeMDfatGGVP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1MW76AT06kcbygN54t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owhL14X0qPJ.wp6St7Zw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ФЦК">
  <a:themeElements>
    <a:clrScheme name="ФЦК">
      <a:dk1>
        <a:srgbClr val="171616"/>
      </a:dk1>
      <a:lt1>
        <a:srgbClr val="FFFFFF"/>
      </a:lt1>
      <a:dk2>
        <a:srgbClr val="0070C0"/>
      </a:dk2>
      <a:lt2>
        <a:srgbClr val="E7E6E6"/>
      </a:lt2>
      <a:accent1>
        <a:srgbClr val="C8456A"/>
      </a:accent1>
      <a:accent2>
        <a:srgbClr val="1B68DC"/>
      </a:accent2>
      <a:accent3>
        <a:srgbClr val="00B0F0"/>
      </a:accent3>
      <a:accent4>
        <a:srgbClr val="00B0F0"/>
      </a:accent4>
      <a:accent5>
        <a:srgbClr val="878787"/>
      </a:accent5>
      <a:accent6>
        <a:srgbClr val="A6A6A6"/>
      </a:accent6>
      <a:hlink>
        <a:srgbClr val="00C2F3"/>
      </a:hlink>
      <a:folHlink>
        <a:srgbClr val="515151"/>
      </a:folHlink>
    </a:clrScheme>
    <a:fontScheme name="ФЦК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ФЦК 3х4 (1).pot [Режим совместимости]" id="{BF522822-AADD-439B-A038-43E36ABBD230}" vid="{CEF38255-DA3A-4FB0-8362-B47E8E4EDD46}"/>
    </a:ext>
  </a:extLst>
</a:theme>
</file>

<file path=ppt/theme/theme3.xml><?xml version="1.0" encoding="utf-8"?>
<a:theme xmlns:a="http://schemas.openxmlformats.org/drawingml/2006/main" name="3_ФЦК">
  <a:themeElements>
    <a:clrScheme name="Пользовательские 4">
      <a:dk1>
        <a:srgbClr val="171616"/>
      </a:dk1>
      <a:lt1>
        <a:srgbClr val="FFFFFF"/>
      </a:lt1>
      <a:dk2>
        <a:srgbClr val="00447D"/>
      </a:dk2>
      <a:lt2>
        <a:srgbClr val="E7E6E6"/>
      </a:lt2>
      <a:accent1>
        <a:srgbClr val="E8496D"/>
      </a:accent1>
      <a:accent2>
        <a:srgbClr val="0071BC"/>
      </a:accent2>
      <a:accent3>
        <a:srgbClr val="6EB1DE"/>
      </a:accent3>
      <a:accent4>
        <a:srgbClr val="00B0F0"/>
      </a:accent4>
      <a:accent5>
        <a:srgbClr val="878787"/>
      </a:accent5>
      <a:accent6>
        <a:srgbClr val="A6A6A6"/>
      </a:accent6>
      <a:hlink>
        <a:srgbClr val="1B3281"/>
      </a:hlink>
      <a:folHlink>
        <a:srgbClr val="515151"/>
      </a:folHlink>
    </a:clrScheme>
    <a:fontScheme name="ФЦК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ФЦК 3х4 (1).pot [Режим совместимости]" id="{BF522822-AADD-439B-A038-43E36ABBD230}" vid="{CEF38255-DA3A-4FB0-8362-B47E8E4EDD4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70C0"/>
      </a:dk2>
      <a:lt2>
        <a:srgbClr val="E7E6E6"/>
      </a:lt2>
      <a:accent1>
        <a:srgbClr val="C8456A"/>
      </a:accent1>
      <a:accent2>
        <a:srgbClr val="1B68DC"/>
      </a:accent2>
      <a:accent3>
        <a:srgbClr val="00B0F0"/>
      </a:accent3>
      <a:accent4>
        <a:srgbClr val="00B0F0"/>
      </a:accent4>
      <a:accent5>
        <a:srgbClr val="878787"/>
      </a:accent5>
      <a:accent6>
        <a:srgbClr val="A6A6A6"/>
      </a:accent6>
      <a:hlink>
        <a:srgbClr val="00C2F3"/>
      </a:hlink>
      <a:folHlink>
        <a:srgbClr val="515151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1">
  <a:themeElements>
    <a:clrScheme name="МИНЭК 3">
      <a:dk1>
        <a:srgbClr val="000000"/>
      </a:dk1>
      <a:lt1>
        <a:sysClr val="window" lastClr="FFFFFF"/>
      </a:lt1>
      <a:dk2>
        <a:srgbClr val="404EA1"/>
      </a:dk2>
      <a:lt2>
        <a:srgbClr val="FFFFFF"/>
      </a:lt2>
      <a:accent1>
        <a:srgbClr val="0895C5"/>
      </a:accent1>
      <a:accent2>
        <a:srgbClr val="1E77BC"/>
      </a:accent2>
      <a:accent3>
        <a:srgbClr val="5C2C83"/>
      </a:accent3>
      <a:accent4>
        <a:srgbClr val="FBCA62"/>
      </a:accent4>
      <a:accent5>
        <a:srgbClr val="00B2A8"/>
      </a:accent5>
      <a:accent6>
        <a:srgbClr val="92D050"/>
      </a:accent6>
      <a:hlink>
        <a:srgbClr val="0563C1"/>
      </a:hlink>
      <a:folHlink>
        <a:srgbClr val="954F72"/>
      </a:folHlink>
    </a:clrScheme>
    <a:fontScheme name="Минэк">
      <a:majorFont>
        <a:latin typeface="Montserrat ExtraBold"/>
        <a:ea typeface=""/>
        <a:cs typeface=""/>
      </a:majorFont>
      <a:minorFont>
        <a:latin typeface="Montserra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8A528907-D31B-46B2-9DA9-3280916B8C41}" vid="{F805F608-2ABA-4B0C-A56E-EAF829A69C7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497</Words>
  <Application>Microsoft Office PowerPoint</Application>
  <PresentationFormat>Широкоэкранный</PresentationFormat>
  <Paragraphs>140</Paragraphs>
  <Slides>7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5</vt:i4>
      </vt:variant>
      <vt:variant>
        <vt:lpstr>Заголовки слайдов</vt:lpstr>
      </vt:variant>
      <vt:variant>
        <vt:i4>7</vt:i4>
      </vt:variant>
    </vt:vector>
  </HeadingPairs>
  <TitlesOfParts>
    <vt:vector size="26" baseType="lpstr">
      <vt:lpstr>Arial</vt:lpstr>
      <vt:lpstr>Calibri</vt:lpstr>
      <vt:lpstr>Calibri Light</vt:lpstr>
      <vt:lpstr>DejaVu Sans</vt:lpstr>
      <vt:lpstr>DIN Pro Medium</vt:lpstr>
      <vt:lpstr>DIN Pro Regular</vt:lpstr>
      <vt:lpstr>Helvetica Neue</vt:lpstr>
      <vt:lpstr>Helvetica Neue Medium</vt:lpstr>
      <vt:lpstr>Montserrat</vt:lpstr>
      <vt:lpstr>Symbol</vt:lpstr>
      <vt:lpstr>Tahoma</vt:lpstr>
      <vt:lpstr>Times New Roman</vt:lpstr>
      <vt:lpstr>Verdana</vt:lpstr>
      <vt:lpstr>Wingdings</vt:lpstr>
      <vt:lpstr>1_Тема Office</vt:lpstr>
      <vt:lpstr>1_ФЦК</vt:lpstr>
      <vt:lpstr>3_ФЦК</vt:lpstr>
      <vt:lpstr>Office Theme</vt:lpstr>
      <vt:lpstr>Тема1</vt:lpstr>
      <vt:lpstr>Презентация PowerPoint</vt:lpstr>
      <vt:lpstr>Презентация PowerPoint</vt:lpstr>
      <vt:lpstr>Федеральный проект «Производительность труда»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клюгин Владимир Александрович</dc:creator>
  <cp:lastModifiedBy>GlBuh</cp:lastModifiedBy>
  <cp:revision>1</cp:revision>
  <dcterms:created xsi:type="dcterms:W3CDTF">2025-12-11T13:01:07Z</dcterms:created>
  <dcterms:modified xsi:type="dcterms:W3CDTF">2025-12-12T08:03:48Z</dcterms:modified>
</cp:coreProperties>
</file>